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sldIdLst>
    <p:sldId id="886" r:id="rId2"/>
    <p:sldId id="874" r:id="rId3"/>
    <p:sldId id="888" r:id="rId4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10"/>
    <p:restoredTop sz="95970"/>
  </p:normalViewPr>
  <p:slideViewPr>
    <p:cSldViewPr snapToGrid="0" snapToObjects="1">
      <p:cViewPr varScale="1">
        <p:scale>
          <a:sx n="116" d="100"/>
          <a:sy n="116" d="100"/>
        </p:scale>
        <p:origin x="416" y="1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slide" Target="slides/slide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http://77A1012EB7C4058D7857A2C27F19AA38.dms.sberbank.ru/77A1012EB7C4058D7857A2C27F19AA38-E15EB427CD4712C851F7D03AB39A70C4-B054D6E9F869EC65FB341B5662C765B1/1.png" TargetMode="External"/><Relationship Id="rId3" Type="http://schemas.openxmlformats.org/officeDocument/2006/relationships/tags" Target="../tags/tag2.xml"/><Relationship Id="rId7" Type="http://schemas.openxmlformats.org/officeDocument/2006/relationships/image" Target="../media/image2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6967B2C-DD04-834C-A9BA-2628CEAA1FE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40746BB9-C011-5343-A256-1917CD80B9E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F6EBA999-4CAD-EA4E-9C1E-4195A2A49E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7F8B83-B126-0643-BAD4-2CB6FD4BDEA8}" type="datetimeFigureOut">
              <a:rPr lang="ru-RU" smtClean="0"/>
              <a:t>14.11.2022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A067E39B-59B9-5946-97D2-6717933654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EC6FC08B-C736-ED4B-B0F8-1DD2C3CC4E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4F27EE-3D7C-1246-BC18-0B43AAC4C7C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1495205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95C8572-DC0A-6B45-B2B8-2958B090D1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01BC5E17-D0D5-2F4D-A561-F5F51DD4FE2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1D76F90B-2242-FE4B-AC69-B942EF73C7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7F8B83-B126-0643-BAD4-2CB6FD4BDEA8}" type="datetimeFigureOut">
              <a:rPr lang="ru-RU" smtClean="0"/>
              <a:t>14.11.2022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42FB1168-8601-4043-89CB-5E9F773B96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22D33AE9-5AA0-CD4A-BDD5-87AFAEC716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4F27EE-3D7C-1246-BC18-0B43AAC4C7C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5706550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id="{3D86705F-FF31-8144-8070-A0955B31782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626F6F38-310B-0C4C-AC8E-2BD85FAA4E2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DBE5D0D0-B0B5-504B-9B06-F5C0783C98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7F8B83-B126-0643-BAD4-2CB6FD4BDEA8}" type="datetimeFigureOut">
              <a:rPr lang="ru-RU" smtClean="0"/>
              <a:t>14.11.2022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5E7E02BB-2070-DE46-8C23-71F54CBEFB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966EEBCD-84F8-7D4B-83DB-40228A8A42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4F27EE-3D7C-1246-BC18-0B43AAC4C7C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1112970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ru-RU" sz="2000" b="0" i="0" baseline="0" dirty="0">
              <a:latin typeface="SB Sans Display Semibold" panose="020B0604020202020204" charset="0"/>
              <a:ea typeface="+mn-ea"/>
              <a:cs typeface="SB Sans Display Semibold" panose="020B0604020202020204" charset="0"/>
              <a:sym typeface="SB Sans Display Semibold" panose="020B060402020202020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42913" y="457200"/>
            <a:ext cx="10515600" cy="3693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129963" y="6481781"/>
            <a:ext cx="619125" cy="14946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defRPr lang="ru-RU" sz="1050" b="0" smtClean="0">
                <a:solidFill>
                  <a:schemeClr val="bg2">
                    <a:lumMod val="75000"/>
                  </a:schemeClr>
                </a:solidFill>
                <a:effectLst/>
                <a:latin typeface="SB Sans Display" panose="020B0604020202020204" charset="0"/>
                <a:cs typeface="SB Sans Display" panose="020B0604020202020204" charset="0"/>
              </a:defRPr>
            </a:lvl1pPr>
          </a:lstStyle>
          <a:p>
            <a:pPr marL="180975" indent="-180975" algn="r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fld id="{1ECC838D-6406-4574-A9A5-074039DD8048}" type="slidenum">
              <a:rPr lang="ru-RU" smtClean="0"/>
              <a:pPr marL="180975" indent="-180975" algn="r">
                <a:lnSpc>
                  <a:spcPct val="90000"/>
                </a:lnSpc>
                <a:spcBef>
                  <a:spcPct val="0"/>
                </a:spcBef>
                <a:buFont typeface="Arial" panose="020B0604020202020204" pitchFamily="34" charset="0"/>
                <a:buNone/>
              </a:pPr>
              <a:t>‹#›</a:t>
            </a:fld>
            <a:endParaRPr lang="ru-RU"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20374" y="419845"/>
            <a:ext cx="1128713" cy="226420"/>
          </a:xfrm>
          <a:prstGeom prst="rect">
            <a:avLst/>
          </a:prstGeom>
        </p:spPr>
      </p:pic>
      <p:pic>
        <p:nvPicPr>
          <p:cNvPr id="29" name="Рисунок 28" descr="http://77A1012EB7C4058D7857A2C27F19AA38.dms.sberbank.ru/77A1012EB7C4058D7857A2C27F19AA38-E15EB427CD4712C851F7D03AB39A70C4-B054D6E9F869EC65FB341B5662C765B1/1.png"/>
          <p:cNvPicPr>
            <a:picLocks/>
          </p:cNvPicPr>
          <p:nvPr userDrawn="1"/>
        </p:nvPicPr>
        <p:blipFill>
          <a:blip r:link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30" name="Рисунок 29" descr="http://77A1012EB7C4058D7857A2C27F19AA38.dms.sberbank.ru/77A1012EB7C4058D7857A2C27F19AA38-E15EB427CD4712C851F7D03AB39A70C4-B054D6E9F869EC65FB341B5662C765B1/1.png"/>
          <p:cNvPicPr>
            <a:picLocks/>
          </p:cNvPicPr>
          <p:nvPr userDrawn="1"/>
        </p:nvPicPr>
        <p:blipFill>
          <a:blip r:link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31" name="Рисунок 30" descr="http://77A1012EB7C4058D7857A2C27F19AA38.dms.sberbank.ru/77A1012EB7C4058D7857A2C27F19AA38-E15EB427CD4712C851F7D03AB39A70C4-B054D6E9F869EC65FB341B5662C765B1/1.png"/>
          <p:cNvPicPr>
            <a:picLocks/>
          </p:cNvPicPr>
          <p:nvPr userDrawn="1"/>
        </p:nvPicPr>
        <p:blipFill>
          <a:blip r:link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32" name="Рисунок 31" descr="http://77A1012EB7C4058D7857A2C27F19AA38.dms.sberbank.ru/77A1012EB7C4058D7857A2C27F19AA38-E15EB427CD4712C851F7D03AB39A70C4-B054D6E9F869EC65FB341B5662C765B1/1.png"/>
          <p:cNvPicPr>
            <a:picLocks/>
          </p:cNvPicPr>
          <p:nvPr userDrawn="1"/>
        </p:nvPicPr>
        <p:blipFill>
          <a:blip r:link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33" name="Рисунок 32" descr="http://77A1012EB7C4058D7857A2C27F19AA38.dms.sberbank.ru/77A1012EB7C4058D7857A2C27F19AA38-E15EB427CD4712C851F7D03AB39A70C4-B054D6E9F869EC65FB341B5662C765B1/1.png"/>
          <p:cNvPicPr>
            <a:picLocks/>
          </p:cNvPicPr>
          <p:nvPr userDrawn="1"/>
        </p:nvPicPr>
        <p:blipFill>
          <a:blip r:link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34" name="Рисунок 33" descr="http://77A1012EB7C4058D7857A2C27F19AA38.dms.sberbank.ru/77A1012EB7C4058D7857A2C27F19AA38-E15EB427CD4712C851F7D03AB39A70C4-B054D6E9F869EC65FB341B5662C765B1/1.png"/>
          <p:cNvPicPr>
            <a:picLocks/>
          </p:cNvPicPr>
          <p:nvPr userDrawn="1"/>
        </p:nvPicPr>
        <p:blipFill>
          <a:blip r:link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35" name="Рисунок 34" descr="http://77A1012EB7C4058D7857A2C27F19AA38.dms.sberbank.ru/77A1012EB7C4058D7857A2C27F19AA38-E15EB427CD4712C851F7D03AB39A70C4-B054D6E9F869EC65FB341B5662C765B1/1.png"/>
          <p:cNvPicPr>
            <a:picLocks/>
          </p:cNvPicPr>
          <p:nvPr userDrawn="1"/>
        </p:nvPicPr>
        <p:blipFill>
          <a:blip r:link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36" name="Рисунок 35" descr="http://77A1012EB7C4058D7857A2C27F19AA38.dms.sberbank.ru/77A1012EB7C4058D7857A2C27F19AA38-E15EB427CD4712C851F7D03AB39A70C4-B054D6E9F869EC65FB341B5662C765B1/1.png"/>
          <p:cNvPicPr>
            <a:picLocks/>
          </p:cNvPicPr>
          <p:nvPr userDrawn="1"/>
        </p:nvPicPr>
        <p:blipFill>
          <a:blip r:link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37" name="Рисунок 36" descr="http://77A1012EB7C4058D7857A2C27F19AA38.dms.sberbank.ru/77A1012EB7C4058D7857A2C27F19AA38-E15EB427CD4712C851F7D03AB39A70C4-B054D6E9F869EC65FB341B5662C765B1/1.png"/>
          <p:cNvPicPr>
            <a:picLocks/>
          </p:cNvPicPr>
          <p:nvPr userDrawn="1"/>
        </p:nvPicPr>
        <p:blipFill>
          <a:blip r:link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38" name="Рисунок 37" descr="http://77A1012EB7C4058D7857A2C27F19AA38.dms.sberbank.ru/77A1012EB7C4058D7857A2C27F19AA38-E15EB427CD4712C851F7D03AB39A70C4-B054D6E9F869EC65FB341B5662C765B1/1.png"/>
          <p:cNvPicPr>
            <a:picLocks/>
          </p:cNvPicPr>
          <p:nvPr userDrawn="1"/>
        </p:nvPicPr>
        <p:blipFill>
          <a:blip r:link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39" name="Рисунок 38" descr="http://77A1012EB7C4058D7857A2C27F19AA38.dms.sberbank.ru/77A1012EB7C4058D7857A2C27F19AA38-E15EB427CD4712C851F7D03AB39A70C4-B054D6E9F869EC65FB341B5662C765B1/1.png"/>
          <p:cNvPicPr>
            <a:picLocks/>
          </p:cNvPicPr>
          <p:nvPr userDrawn="1"/>
        </p:nvPicPr>
        <p:blipFill>
          <a:blip r:link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40" name="Рисунок 39" descr="http://77A1012EB7C4058D7857A2C27F19AA38.dms.sberbank.ru/77A1012EB7C4058D7857A2C27F19AA38-E15EB427CD4712C851F7D03AB39A70C4-B054D6E9F869EC65FB341B5662C765B1/1.png"/>
          <p:cNvPicPr>
            <a:picLocks/>
          </p:cNvPicPr>
          <p:nvPr userDrawn="1"/>
        </p:nvPicPr>
        <p:blipFill>
          <a:blip r:link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41" name="Рисунок 40" descr="http://77A1012EB7C4058D7857A2C27F19AA38.dms.sberbank.ru/77A1012EB7C4058D7857A2C27F19AA38-E15EB427CD4712C851F7D03AB39A70C4-B054D6E9F869EC65FB341B5662C765B1/1.png"/>
          <p:cNvPicPr>
            <a:picLocks/>
          </p:cNvPicPr>
          <p:nvPr userDrawn="1"/>
        </p:nvPicPr>
        <p:blipFill>
          <a:blip r:link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42" name="Рисунок 41" descr="http://77A1012EB7C4058D7857A2C27F19AA38.dms.sberbank.ru/77A1012EB7C4058D7857A2C27F19AA38-E15EB427CD4712C851F7D03AB39A70C4-B054D6E9F869EC65FB341B5662C765B1/1.png"/>
          <p:cNvPicPr>
            <a:picLocks/>
          </p:cNvPicPr>
          <p:nvPr userDrawn="1"/>
        </p:nvPicPr>
        <p:blipFill>
          <a:blip r:link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43" name="Рисунок 42" descr="http://77A1012EB7C4058D7857A2C27F19AA38.dms.sberbank.ru/77A1012EB7C4058D7857A2C27F19AA38-E15EB427CD4712C851F7D03AB39A70C4-B054D6E9F869EC65FB341B5662C765B1/1.png"/>
          <p:cNvPicPr>
            <a:picLocks/>
          </p:cNvPicPr>
          <p:nvPr userDrawn="1"/>
        </p:nvPicPr>
        <p:blipFill>
          <a:blip r:link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44" name="Рисунок 43" descr="http://77A1012EB7C4058D7857A2C27F19AA38.dms.sberbank.ru/77A1012EB7C4058D7857A2C27F19AA38-E15EB427CD4712C851F7D03AB39A70C4-B054D6E9F869EC65FB341B5662C765B1/1.png"/>
          <p:cNvPicPr>
            <a:picLocks/>
          </p:cNvPicPr>
          <p:nvPr userDrawn="1"/>
        </p:nvPicPr>
        <p:blipFill>
          <a:blip r:link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45" name="Рисунок 44" descr="http://77A1012EB7C4058D7857A2C27F19AA38.dms.sberbank.ru/77A1012EB7C4058D7857A2C27F19AA38-E15EB427CD4712C851F7D03AB39A70C4-B054D6E9F869EC65FB341B5662C765B1/1.png"/>
          <p:cNvPicPr>
            <a:picLocks/>
          </p:cNvPicPr>
          <p:nvPr userDrawn="1"/>
        </p:nvPicPr>
        <p:blipFill>
          <a:blip r:link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491592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0B8F9BB-8641-4649-8D8E-3589DBC4BB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653E9BC9-80D8-EE48-81EA-AE75646571C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7E950F65-FD00-6141-B52C-537F8A34AD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7F8B83-B126-0643-BAD4-2CB6FD4BDEA8}" type="datetimeFigureOut">
              <a:rPr lang="ru-RU" smtClean="0"/>
              <a:t>14.11.2022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F960708B-615F-E74C-BAEF-EFFE6B7D00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60AEAC2F-887A-AC4E-B56E-B931F15EB6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4F27EE-3D7C-1246-BC18-0B43AAC4C7C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761295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9A926DA-D95F-B84C-869B-78977D604D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B51AC90E-8B92-3042-B7BB-3375F47E707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F3D66AAA-19F1-CE45-AE65-AEA955332E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7F8B83-B126-0643-BAD4-2CB6FD4BDEA8}" type="datetimeFigureOut">
              <a:rPr lang="ru-RU" smtClean="0"/>
              <a:t>14.11.2022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96D09055-5F47-3B41-B854-8BC0F70076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3565B971-1586-9548-AA5B-5FF331C710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4F27EE-3D7C-1246-BC18-0B43AAC4C7C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859286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2D33064-29E0-B44D-9888-C0DA3C4B24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62111D53-6607-574C-90E6-B2E77AB8D27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2C16819E-772A-0E47-B8F5-579BF455069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0EAFA85F-18F1-AB4F-A7A2-B7AAA00846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7F8B83-B126-0643-BAD4-2CB6FD4BDEA8}" type="datetimeFigureOut">
              <a:rPr lang="ru-RU" smtClean="0"/>
              <a:t>14.11.2022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76702E48-FBA3-204C-95DE-A5712E603C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975B82C2-C017-0643-8A2E-B880C756F7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4F27EE-3D7C-1246-BC18-0B43AAC4C7C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4852296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79A7803-6C26-1741-9E0B-704D7E73B6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F67F03FB-B19B-BC49-BE3F-6249D2AD936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BD75E445-E7DE-2B4B-AEE4-815C149AD47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291FDD34-6454-C743-AF0D-25785A66D58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F6450157-0C0B-044C-87D3-40423938765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178C513C-26D0-BB4C-B7D9-42C3E812437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7F8B83-B126-0643-BAD4-2CB6FD4BDEA8}" type="datetimeFigureOut">
              <a:rPr lang="ru-RU" smtClean="0"/>
              <a:t>14.11.2022</a:t>
            </a:fld>
            <a:endParaRPr lang="ru-RU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82B325F8-A421-D14E-B6E0-3A7B12D60D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561C289A-C86C-2248-9D26-95D74F642D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4F27EE-3D7C-1246-BC18-0B43AAC4C7C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1167394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C3B001F-7DD2-4E4A-B80B-C72B86CBED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ACFAE6D0-8C4F-2646-A5FA-4A3F2EC0AB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7F8B83-B126-0643-BAD4-2CB6FD4BDEA8}" type="datetimeFigureOut">
              <a:rPr lang="ru-RU" smtClean="0"/>
              <a:t>14.11.2022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1E50E22F-864A-9346-96D5-B7F9F3B7A5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8B1711F1-68B9-B741-AA07-28547926AA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4F27EE-3D7C-1246-BC18-0B43AAC4C7C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9195679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0B5DD35D-5AF8-4D44-8CB8-CCD273E0C62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7F8B83-B126-0643-BAD4-2CB6FD4BDEA8}" type="datetimeFigureOut">
              <a:rPr lang="ru-RU" smtClean="0"/>
              <a:t>14.11.2022</a:t>
            </a:fld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1DCE8515-C050-DF41-8F83-5D9DA011FF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8794C864-9E9D-734F-9E37-E757B0B9C3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4F27EE-3D7C-1246-BC18-0B43AAC4C7C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4902233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76B885F-0696-0546-B4A7-2A127B601E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8C457B31-22B7-1A46-A46E-AFAFC5C288A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17EC011D-C474-F14A-9D43-4DB27704181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1C9FAED2-0AC3-2C4A-B558-86B86C8AA5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7F8B83-B126-0643-BAD4-2CB6FD4BDEA8}" type="datetimeFigureOut">
              <a:rPr lang="ru-RU" smtClean="0"/>
              <a:t>14.11.2022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4563E5FF-3F96-C540-999F-1B1B10DAE0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9FB39068-6ED9-314C-8F65-6A1F7E42F3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4F27EE-3D7C-1246-BC18-0B43AAC4C7C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9292846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3AFB244-E428-7848-9456-E8617920A7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B58AFFA6-2B67-354C-9200-A59AB8A3B30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E85F372B-3AA7-6A4C-ADC2-0C7937C4476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BD807587-7417-7A4C-9B80-29FF053ACC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7F8B83-B126-0643-BAD4-2CB6FD4BDEA8}" type="datetimeFigureOut">
              <a:rPr lang="ru-RU" smtClean="0"/>
              <a:t>14.11.2022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5D48477D-7890-CD44-8035-29B8966DE5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85FEEFF7-8BE9-7E4D-88F6-0A044D8848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4F27EE-3D7C-1246-BC18-0B43AAC4C7C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8605591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C76572E-0DB3-F14A-9055-843D94C0B2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5C5EE26F-C1ED-7543-90AA-7E99AD5C915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CAA2385D-74B4-2445-A0FE-9D1D1E39C1D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7F8B83-B126-0643-BAD4-2CB6FD4BDEA8}" type="datetimeFigureOut">
              <a:rPr lang="ru-RU" smtClean="0"/>
              <a:t>14.11.2022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BA6EA312-B233-B34C-9B8F-8BF77D0E7FA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4186D904-CCAF-614B-B093-8B2668656B3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A4F27EE-3D7C-1246-BC18-0B43AAC4C7C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780800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7.png"/><Relationship Id="rId11" Type="http://schemas.openxmlformats.org/officeDocument/2006/relationships/image" Target="../media/image22.png"/><Relationship Id="rId5" Type="http://schemas.openxmlformats.org/officeDocument/2006/relationships/image" Target="../media/image5.png"/><Relationship Id="rId10" Type="http://schemas.openxmlformats.org/officeDocument/2006/relationships/image" Target="../media/image21.png"/><Relationship Id="rId4" Type="http://schemas.openxmlformats.org/officeDocument/2006/relationships/image" Target="../media/image4.png"/><Relationship Id="rId9" Type="http://schemas.openxmlformats.org/officeDocument/2006/relationships/image" Target="../media/image20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53B53AD-6338-5C4B-9A08-000A4086FD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441" y="120013"/>
            <a:ext cx="10515600" cy="648426"/>
          </a:xfrm>
        </p:spPr>
        <p:txBody>
          <a:bodyPr>
            <a:normAutofit fontScale="90000"/>
          </a:bodyPr>
          <a:lstStyle/>
          <a:p>
            <a:r>
              <a:rPr lang="en-US" dirty="0"/>
              <a:t>Regression Based Monte Carlo</a:t>
            </a:r>
            <a:endParaRPr lang="ru-RU" dirty="0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3" name="TextBox 2">
                <a:extLst>
                  <a:ext uri="{FF2B5EF4-FFF2-40B4-BE49-F238E27FC236}">
                    <a16:creationId xmlns:a16="http://schemas.microsoft.com/office/drawing/2014/main" id="{3A107D62-3AF2-6E42-B78B-CDFDF2FF74AC}"/>
                  </a:ext>
                </a:extLst>
              </p:cNvPr>
              <p:cNvSpPr txBox="1"/>
              <p:nvPr/>
            </p:nvSpPr>
            <p:spPr>
              <a:xfrm>
                <a:off x="411417" y="791212"/>
                <a:ext cx="3247659" cy="49661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ru-RU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0</m:t>
                          </m:r>
                        </m:sub>
                      </m:sSub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func>
                        <m:func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uncPr>
                        <m:fName>
                          <m:limLow>
                            <m:limLow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limLowPr>
                            <m:e>
                              <m:r>
                                <m:rPr>
                                  <m:sty m:val="p"/>
                                </m:rPr>
                                <a:rPr lang="en-US" b="0" i="0" smtClean="0">
                                  <a:latin typeface="Cambria Math" panose="02040503050406030204" pitchFamily="18" charset="0"/>
                                </a:rPr>
                                <m:t>max</m:t>
                              </m:r>
                            </m:e>
                            <m:lim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𝜏</m:t>
                              </m:r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∈[0,</m:t>
                              </m:r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𝑇</m:t>
                              </m:r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]</m:t>
                              </m:r>
                            </m:lim>
                          </m:limLow>
                        </m:fName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𝐸</m:t>
                          </m:r>
                          <m:d>
                            <m:dPr>
                              <m:begChr m:val="["/>
                              <m:endChr m:val="]"/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p>
                                <m:sSupPr>
                                  <m:ctrlP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sSup>
                                    <m:sSupPr>
                                      <m:ctrlPr>
                                        <a:rPr lang="en-US" b="0" i="1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US" b="0" i="1" smtClean="0">
                                          <a:latin typeface="Cambria Math" panose="02040503050406030204" pitchFamily="18" charset="0"/>
                                        </a:rPr>
                                        <m:t>𝑒</m:t>
                                      </m:r>
                                    </m:e>
                                    <m:sup>
                                      <m:r>
                                        <a:rPr lang="en-US" b="0" i="1" smtClean="0">
                                          <a:latin typeface="Cambria Math" panose="02040503050406030204" pitchFamily="18" charset="0"/>
                                        </a:rPr>
                                        <m:t>−</m:t>
                                      </m:r>
                                      <m:r>
                                        <a:rPr lang="en-US" b="0" i="1" smtClean="0">
                                          <a:latin typeface="Cambria Math" panose="02040503050406030204" pitchFamily="18" charset="0"/>
                                        </a:rPr>
                                        <m:t>𝑟𝑇</m:t>
                                      </m:r>
                                    </m:sup>
                                  </m:sSup>
                                  <m:d>
                                    <m:dPr>
                                      <m:ctrlPr>
                                        <a:rPr lang="en-US" b="0" i="1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sSub>
                                        <m:sSubPr>
                                          <m:ctrlPr>
                                            <a:rPr lang="en-US" b="0" i="1" smtClean="0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en-US" b="0" i="1" smtClean="0">
                                              <a:latin typeface="Cambria Math" panose="02040503050406030204" pitchFamily="18" charset="0"/>
                                            </a:rPr>
                                            <m:t>𝑆</m:t>
                                          </m:r>
                                        </m:e>
                                        <m:sub>
                                          <m:r>
                                            <a:rPr lang="en-US" b="0" i="1" smtClean="0">
                                              <a:latin typeface="Cambria Math" panose="02040503050406030204" pitchFamily="18" charset="0"/>
                                            </a:rPr>
                                            <m:t>𝑇</m:t>
                                          </m:r>
                                        </m:sub>
                                      </m:sSub>
                                      <m:r>
                                        <a:rPr lang="en-US" b="0" i="1" smtClean="0">
                                          <a:latin typeface="Cambria Math" panose="02040503050406030204" pitchFamily="18" charset="0"/>
                                        </a:rPr>
                                        <m:t>−</m:t>
                                      </m:r>
                                      <m:r>
                                        <a:rPr lang="en-US" b="0" i="1" smtClean="0">
                                          <a:latin typeface="Cambria Math" panose="02040503050406030204" pitchFamily="18" charset="0"/>
                                        </a:rPr>
                                        <m:t>𝐾</m:t>
                                      </m:r>
                                    </m:e>
                                  </m:d>
                                </m:e>
                                <m:sup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+</m:t>
                                  </m:r>
                                </m:sup>
                              </m:sSup>
                            </m:e>
                          </m:d>
                        </m:e>
                      </m:func>
                    </m:oMath>
                  </m:oMathPara>
                </a14:m>
                <a:endParaRPr lang="ru-RU" dirty="0"/>
              </a:p>
            </p:txBody>
          </p:sp>
        </mc:Choice>
        <mc:Fallback>
          <p:sp>
            <p:nvSpPr>
              <p:cNvPr id="3" name="TextBox 2">
                <a:extLst>
                  <a:ext uri="{FF2B5EF4-FFF2-40B4-BE49-F238E27FC236}">
                    <a16:creationId xmlns:a16="http://schemas.microsoft.com/office/drawing/2014/main" id="{3A107D62-3AF2-6E42-B78B-CDFDF2FF74A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11417" y="791212"/>
                <a:ext cx="3247659" cy="496611"/>
              </a:xfrm>
              <a:prstGeom prst="rect">
                <a:avLst/>
              </a:prstGeom>
              <a:blipFill>
                <a:blip r:embed="rId2"/>
                <a:stretch>
                  <a:fillRect b="-7500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41DD9BF4-9890-674D-BFB1-A3093662086E}"/>
                  </a:ext>
                </a:extLst>
              </p:cNvPr>
              <p:cNvSpPr txBox="1"/>
              <p:nvPr/>
            </p:nvSpPr>
            <p:spPr>
              <a:xfrm>
                <a:off x="462708" y="1467474"/>
                <a:ext cx="11149070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dirty="0"/>
                  <a:t>Пусть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ru-RU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0=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𝑡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0</m:t>
                        </m:r>
                      </m:sub>
                    </m:sSub>
                    <m:r>
                      <a:rPr lang="en-US" b="0" i="1" smtClean="0">
                        <a:latin typeface="Cambria Math" panose="02040503050406030204" pitchFamily="18" charset="0"/>
                      </a:rPr>
                      <m:t>&lt;</m:t>
                    </m:r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𝑡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lang="en-US" b="0" i="1" smtClean="0">
                        <a:latin typeface="Cambria Math" panose="02040503050406030204" pitchFamily="18" charset="0"/>
                      </a:rPr>
                      <m:t>&lt;…&lt;</m:t>
                    </m:r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𝑡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𝑛</m:t>
                        </m:r>
                      </m:sub>
                    </m:sSub>
                    <m:r>
                      <a:rPr lang="en-US" b="0" i="1" smtClean="0"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𝑇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 −</m:t>
                    </m:r>
                    <m:r>
                      <a:rPr lang="ru-RU" b="0" i="1" smtClean="0">
                        <a:latin typeface="Cambria Math" panose="02040503050406030204" pitchFamily="18" charset="0"/>
                      </a:rPr>
                      <m:t>моменты времени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, </m:t>
                    </m:r>
                    <m:r>
                      <a:rPr lang="ru-RU" b="0" i="1" smtClean="0">
                        <a:latin typeface="Cambria Math" panose="02040503050406030204" pitchFamily="18" charset="0"/>
                      </a:rPr>
                      <m:t>в которые можно исполнить опцион</m:t>
                    </m:r>
                  </m:oMath>
                </a14:m>
                <a:endParaRPr lang="ru-RU" dirty="0"/>
              </a:p>
            </p:txBody>
          </p:sp>
        </mc:Choice>
        <mc:Fallback xmlns="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41DD9BF4-9890-674D-BFB1-A3093662086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62708" y="1467474"/>
                <a:ext cx="11149070" cy="369332"/>
              </a:xfrm>
              <a:prstGeom prst="rect">
                <a:avLst/>
              </a:prstGeom>
              <a:blipFill>
                <a:blip r:embed="rId3"/>
                <a:stretch>
                  <a:fillRect l="-455" t="-6667" b="-26667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TextBox 4">
            <a:extLst>
              <a:ext uri="{FF2B5EF4-FFF2-40B4-BE49-F238E27FC236}">
                <a16:creationId xmlns:a16="http://schemas.microsoft.com/office/drawing/2014/main" id="{62844818-5935-0148-AB6A-34DB785D1B56}"/>
              </a:ext>
            </a:extLst>
          </p:cNvPr>
          <p:cNvSpPr txBox="1"/>
          <p:nvPr/>
        </p:nvSpPr>
        <p:spPr>
          <a:xfrm>
            <a:off x="462708" y="1964085"/>
            <a:ext cx="66652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Используем принцип динамического программирования 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FCBA46E9-54B0-4745-BDD3-B8DBBFC47CAE}"/>
                  </a:ext>
                </a:extLst>
              </p:cNvPr>
              <p:cNvSpPr txBox="1"/>
              <p:nvPr/>
            </p:nvSpPr>
            <p:spPr>
              <a:xfrm>
                <a:off x="462708" y="2460696"/>
                <a:ext cx="8671476" cy="31784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𝑉</m:t>
                      </m:r>
                      <m:d>
                        <m:d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𝑆</m:t>
                          </m:r>
                        </m:e>
                      </m:d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m:rPr>
                          <m:sty m:val="p"/>
                        </m:rPr>
                        <a:rPr lang="en-US" b="0" i="0" smtClean="0">
                          <a:latin typeface="Cambria Math" panose="02040503050406030204" pitchFamily="18" charset="0"/>
                        </a:rPr>
                        <m:t>max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⁡</m:t>
                      </m:r>
                      <m:d>
                        <m:d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h</m:t>
                          </m:r>
                          <m:d>
                            <m:d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𝑠</m:t>
                              </m:r>
                            </m:e>
                          </m:d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𝐸</m:t>
                          </m:r>
                          <m:d>
                            <m:dPr>
                              <m:begChr m:val="["/>
                              <m:endChr m:val="]"/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𝑒</m:t>
                                  </m:r>
                                </m:e>
                                <m:sup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𝑟</m:t>
                                  </m:r>
                                  <m:d>
                                    <m:dPr>
                                      <m:ctrlP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sSub>
                                        <m:sSubPr>
                                          <m:ctrlPr>
                                            <a:rPr lang="en-US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en-US" i="1">
                                              <a:latin typeface="Cambria Math" panose="02040503050406030204" pitchFamily="18" charset="0"/>
                                            </a:rPr>
                                            <m:t>𝑡</m:t>
                                          </m:r>
                                        </m:e>
                                        <m:sub>
                                          <m:r>
                                            <a:rPr lang="en-US" i="1">
                                              <a:latin typeface="Cambria Math" panose="02040503050406030204" pitchFamily="18" charset="0"/>
                                            </a:rPr>
                                            <m:t>𝑖</m:t>
                                          </m:r>
                                          <m:r>
                                            <a:rPr lang="en-US" i="1">
                                              <a:latin typeface="Cambria Math" panose="02040503050406030204" pitchFamily="18" charset="0"/>
                                            </a:rPr>
                                            <m:t>+1</m:t>
                                          </m:r>
                                        </m:sub>
                                      </m:sSub>
                                      <m: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  <m:t>−</m:t>
                                      </m:r>
                                      <m:sSub>
                                        <m:sSubPr>
                                          <m:ctrlPr>
                                            <a:rPr lang="en-US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en-US" i="1">
                                              <a:latin typeface="Cambria Math" panose="02040503050406030204" pitchFamily="18" charset="0"/>
                                            </a:rPr>
                                            <m:t>𝑡</m:t>
                                          </m:r>
                                        </m:e>
                                        <m:sub>
                                          <m:r>
                                            <a:rPr lang="en-US" i="1">
                                              <a:latin typeface="Cambria Math" panose="02040503050406030204" pitchFamily="18" charset="0"/>
                                            </a:rPr>
                                            <m:t>𝑖</m:t>
                                          </m:r>
                                        </m:sub>
                                      </m:sSub>
                                    </m:e>
                                  </m:d>
                                </m:sup>
                              </m:s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(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+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sSub>
                                <m:sSub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𝑆</m:t>
                                  </m:r>
                                </m:e>
                                <m:sub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+1</m:t>
                                  </m:r>
                                </m:sub>
                              </m:sSub>
                              <m:r>
                                <a:rPr lang="ru-RU" i="1">
                                  <a:latin typeface="Cambria Math" panose="02040503050406030204" pitchFamily="18" charset="0"/>
                                </a:rPr>
                                <m:t>)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|</m:t>
                              </m:r>
                              <m:sSub>
                                <m:sSub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𝑆</m:t>
                                  </m:r>
                                </m:e>
                                <m:sub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sub>
                              </m:s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=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𝑆</m:t>
                              </m:r>
                            </m:e>
                          </m:d>
                        </m:e>
                      </m:d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𝑖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0,…,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𝑚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−1;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𝑉</m:t>
                      </m:r>
                      <m:d>
                        <m:d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𝑆</m:t>
                          </m:r>
                        </m:e>
                      </m:d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h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𝑆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ru-RU" dirty="0"/>
              </a:p>
            </p:txBody>
          </p:sp>
        </mc:Choice>
        <mc:Fallback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FCBA46E9-54B0-4745-BDD3-B8DBBFC47CA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62708" y="2460696"/>
                <a:ext cx="8671476" cy="317844"/>
              </a:xfrm>
              <a:prstGeom prst="rect">
                <a:avLst/>
              </a:prstGeom>
              <a:blipFill>
                <a:blip r:embed="rId4"/>
                <a:stretch>
                  <a:fillRect l="-146" r="-439" b="-30769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TextBox 6">
            <a:extLst>
              <a:ext uri="{FF2B5EF4-FFF2-40B4-BE49-F238E27FC236}">
                <a16:creationId xmlns:a16="http://schemas.microsoft.com/office/drawing/2014/main" id="{607DFFB3-FF03-0343-86C9-13AC5AA25B9B}"/>
              </a:ext>
            </a:extLst>
          </p:cNvPr>
          <p:cNvSpPr txBox="1"/>
          <p:nvPr/>
        </p:nvSpPr>
        <p:spPr>
          <a:xfrm>
            <a:off x="422433" y="2889607"/>
            <a:ext cx="36061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/>
              <a:t>Идея </a:t>
            </a:r>
            <a:r>
              <a:rPr lang="en-US" dirty="0"/>
              <a:t>Regression-Based Monte Carlo</a:t>
            </a:r>
            <a:endParaRPr lang="ru-RU" dirty="0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36C5E45E-2C56-2E4B-A76B-A47BA11BF6A5}"/>
                  </a:ext>
                </a:extLst>
              </p:cNvPr>
              <p:cNvSpPr txBox="1"/>
              <p:nvPr/>
            </p:nvSpPr>
            <p:spPr>
              <a:xfrm>
                <a:off x="422433" y="3359235"/>
                <a:ext cx="11149070" cy="38042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𝐸</m:t>
                    </m:r>
                    <m:d>
                      <m:dPr>
                        <m:begChr m:val="["/>
                        <m:endChr m:val="]"/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𝑉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(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+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,</m:t>
                        </m:r>
                        <m:sSub>
                          <m:sSubPr>
                            <m:ctrlPr>
                              <a:rPr lang="en-US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𝑆</m:t>
                            </m:r>
                          </m:e>
                          <m:sub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𝑖</m:t>
                            </m:r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+1</m:t>
                            </m:r>
                          </m:sub>
                        </m:s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)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|</m:t>
                        </m:r>
                        <m:sSub>
                          <m:sSubPr>
                            <m:ctrlPr>
                              <a:rPr lang="en-US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𝑆</m:t>
                            </m:r>
                          </m:e>
                          <m:sub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𝑖</m:t>
                            </m:r>
                          </m:sub>
                        </m:s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=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𝑆</m:t>
                        </m:r>
                      </m:e>
                    </m:d>
                    <m:r>
                      <a:rPr lang="en-US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≈</m:t>
                    </m:r>
                    <m:nary>
                      <m:naryPr>
                        <m:chr m:val="∑"/>
                        <m:limLoc m:val="subSup"/>
                        <m:ctrlPr>
                          <a:rPr lang="en-US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brk m:alnAt="25"/>
                          </m:rPr>
                          <a:rPr lang="en-US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𝑘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=1</m:t>
                        </m:r>
                      </m:sub>
                      <m:sup>
                        <m:r>
                          <a:rPr lang="en-US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𝑀</m:t>
                        </m:r>
                      </m:sup>
                      <m:e>
                        <m:sSub>
                          <m:sSubPr>
                            <m:ctrlPr>
                              <a:rPr lang="en-US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𝛽</m:t>
                            </m:r>
                          </m:e>
                          <m:sub>
                            <m:r>
                              <a:rPr lang="en-US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𝑖𝑘</m:t>
                            </m:r>
                          </m:sub>
                        </m:sSub>
                        <m:sSub>
                          <m:sSubPr>
                            <m:ctrlPr>
                              <a:rPr lang="en-US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𝜓</m:t>
                            </m:r>
                          </m:e>
                          <m:sub>
                            <m:r>
                              <a:rPr lang="en-US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𝑘</m:t>
                            </m:r>
                          </m:sub>
                        </m:sSub>
                        <m:d>
                          <m:dPr>
                            <m:ctrlPr>
                              <a:rPr lang="en-US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US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𝑥</m:t>
                            </m:r>
                          </m:e>
                        </m:d>
                        <m:r>
                          <a:rPr lang="en-US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, </m:t>
                        </m:r>
                        <m:r>
                          <a:rPr lang="ru-RU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где</m:t>
                        </m:r>
                        <m:sSub>
                          <m:sSubPr>
                            <m:ctrlPr>
                              <a:rPr lang="en-US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ru-RU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  </m:t>
                            </m:r>
                            <m:r>
                              <a:rPr lang="en-US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𝜓</m:t>
                            </m:r>
                          </m:e>
                          <m:sub>
                            <m:r>
                              <a:rPr lang="en-US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𝑘</m:t>
                            </m:r>
                          </m:sub>
                        </m:sSub>
                        <m:d>
                          <m:dPr>
                            <m:ctrlPr>
                              <a:rPr lang="en-US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US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𝑥</m:t>
                            </m:r>
                          </m:e>
                        </m:d>
                      </m:e>
                    </m:nary>
                  </m:oMath>
                </a14:m>
                <a:r>
                  <a:rPr lang="ru-RU" dirty="0"/>
                  <a:t>-базисные функции</a:t>
                </a:r>
                <a:r>
                  <a:rPr lang="en-US" dirty="0"/>
                  <a:t>, </a:t>
                </a:r>
                <a:r>
                  <a:rPr lang="ru-RU" dirty="0"/>
                  <a:t>а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𝛽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𝑖𝑘</m:t>
                        </m:r>
                      </m:sub>
                    </m:sSub>
                  </m:oMath>
                </a14:m>
                <a:r>
                  <a:rPr lang="ru-RU" dirty="0"/>
                  <a:t> - константы</a:t>
                </a:r>
                <a:r>
                  <a:rPr lang="en-US" dirty="0"/>
                  <a:t>, </a:t>
                </a:r>
                <a:r>
                  <a:rPr lang="ru-RU" dirty="0"/>
                  <a:t>которые надо задать </a:t>
                </a:r>
              </a:p>
            </p:txBody>
          </p:sp>
        </mc:Choice>
        <mc:Fallback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36C5E45E-2C56-2E4B-A76B-A47BA11BF6A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22433" y="3359235"/>
                <a:ext cx="11149070" cy="380425"/>
              </a:xfrm>
              <a:prstGeom prst="rect">
                <a:avLst/>
              </a:prstGeom>
              <a:blipFill>
                <a:blip r:embed="rId5"/>
                <a:stretch>
                  <a:fillRect t="-103226" r="-114" b="-161290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52CF4C77-485F-0F4E-89FF-053B02FA57E7}"/>
                  </a:ext>
                </a:extLst>
              </p:cNvPr>
              <p:cNvSpPr txBox="1"/>
              <p:nvPr/>
            </p:nvSpPr>
            <p:spPr>
              <a:xfrm>
                <a:off x="411417" y="3823250"/>
                <a:ext cx="10186809" cy="37035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dirty="0"/>
                  <a:t>Насимулировав </a:t>
                </a:r>
                <a:r>
                  <a:rPr lang="en-US" dirty="0"/>
                  <a:t>N </a:t>
                </a:r>
                <a:r>
                  <a:rPr lang="ru-RU" dirty="0"/>
                  <a:t>штук </a:t>
                </a:r>
                <a14:m>
                  <m:oMath xmlns:m="http://schemas.openxmlformats.org/officeDocument/2006/math">
                    <m:d>
                      <m:dPr>
                        <m:ctrlPr>
                          <a:rPr lang="ru-RU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Sup>
                          <m:sSubSupPr>
                            <m:ctrlPr>
                              <a:rPr lang="ru-RU" i="1" smtClean="0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𝑆</m:t>
                            </m:r>
                          </m:e>
                          <m:sub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𝑖</m:t>
                            </m:r>
                          </m:sub>
                          <m:sup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𝑛</m:t>
                            </m:r>
                          </m:sup>
                        </m:sSubSup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, 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𝑉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(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+1,</m:t>
                        </m:r>
                        <m:sSubSup>
                          <m:sSubSupPr>
                            <m:ctrlPr>
                              <a:rPr lang="en-US" b="0" i="1" smtClean="0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𝑆</m:t>
                            </m:r>
                          </m:e>
                          <m:sub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𝑖</m:t>
                            </m:r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+1</m:t>
                            </m:r>
                          </m:sub>
                          <m:sup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𝑛</m:t>
                            </m:r>
                          </m:sup>
                        </m:sSubSup>
                      </m:e>
                    </m:d>
                    <m:r>
                      <a:rPr lang="en-US" b="0" i="1" smtClean="0">
                        <a:latin typeface="Cambria Math" panose="02040503050406030204" pitchFamily="18" charset="0"/>
                      </a:rPr>
                      <m:t>;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𝑛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=1,…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𝑁</m:t>
                    </m:r>
                  </m:oMath>
                </a14:m>
                <a:r>
                  <a:rPr lang="ru-RU" dirty="0"/>
                  <a:t> </a:t>
                </a:r>
                <a:r>
                  <a:rPr lang="en-US" dirty="0"/>
                  <a:t>,</a:t>
                </a:r>
                <a:r>
                  <a:rPr lang="ru-RU" dirty="0"/>
                  <a:t>найдем вектор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𝛽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</m:sSub>
                    <m:r>
                      <a:rPr lang="en-US" b="0" i="1" smtClean="0">
                        <a:latin typeface="Cambria Math" panose="02040503050406030204" pitchFamily="18" charset="0"/>
                      </a:rPr>
                      <m:t>=</m:t>
                    </m:r>
                    <m:sSup>
                      <m:sSup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d>
                          <m:dPr>
                            <m:ctrlPr>
                              <a:rPr lang="en-US" b="0" i="1" smtClea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sSub>
                              <m:sSubPr>
                                <m:ctrlP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𝛽</m:t>
                                </m:r>
                              </m:e>
                              <m:sub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  <m:t>𝑖</m:t>
                                </m:r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b>
                            </m:sSub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,…,</m:t>
                            </m:r>
                            <m:sSub>
                              <m:sSubPr>
                                <m:ctrlP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𝛽</m:t>
                                </m:r>
                              </m:e>
                              <m:sub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  <m:t>𝑖𝑀</m:t>
                                </m:r>
                              </m:sub>
                            </m:sSub>
                          </m:e>
                        </m:d>
                      </m:e>
                      <m:sup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𝑇</m:t>
                        </m:r>
                      </m:sup>
                    </m:sSup>
                    <m:r>
                      <a:rPr lang="ru-RU" b="0" i="1" smtClean="0">
                        <a:latin typeface="Cambria Math" panose="02040503050406030204" pitchFamily="18" charset="0"/>
                      </a:rPr>
                      <m:t>из условия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:</m:t>
                    </m:r>
                  </m:oMath>
                </a14:m>
                <a:endParaRPr lang="ru-RU" dirty="0"/>
              </a:p>
            </p:txBody>
          </p:sp>
        </mc:Choice>
        <mc:Fallback xmlns=""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52CF4C77-485F-0F4E-89FF-053B02FA57E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11417" y="3823250"/>
                <a:ext cx="10186809" cy="370358"/>
              </a:xfrm>
              <a:prstGeom prst="rect">
                <a:avLst/>
              </a:prstGeom>
              <a:blipFill>
                <a:blip r:embed="rId6"/>
                <a:stretch>
                  <a:fillRect l="-498" t="-3226" b="-22581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3CA650E9-DC2F-C44A-83EB-B936CBB8C403}"/>
                  </a:ext>
                </a:extLst>
              </p:cNvPr>
              <p:cNvSpPr txBox="1"/>
              <p:nvPr/>
            </p:nvSpPr>
            <p:spPr>
              <a:xfrm>
                <a:off x="547561" y="4373274"/>
                <a:ext cx="3247749" cy="40248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unc>
                        <m:funcPr>
                          <m:ctrlPr>
                            <a:rPr lang="en" i="1" smtClean="0">
                              <a:latin typeface="Cambria Math" panose="02040503050406030204" pitchFamily="18" charset="0"/>
                            </a:rPr>
                          </m:ctrlPr>
                        </m:funcPr>
                        <m:fName>
                          <m:limLow>
                            <m:limLowPr>
                              <m:ctrlPr>
                                <a:rPr lang="en" i="1" smtClean="0">
                                  <a:latin typeface="Cambria Math" panose="02040503050406030204" pitchFamily="18" charset="0"/>
                                </a:rPr>
                              </m:ctrlPr>
                            </m:limLowPr>
                            <m:e>
                              <m:r>
                                <m:rPr>
                                  <m:sty m:val="p"/>
                                </m:rPr>
                                <a:rPr lang="en" i="0" smtClean="0">
                                  <a:latin typeface="Cambria Math" panose="02040503050406030204" pitchFamily="18" charset="0"/>
                                </a:rPr>
                                <m:t>min</m:t>
                              </m:r>
                            </m:e>
                            <m:lim>
                              <m:sSub>
                                <m:sSubPr>
                                  <m:ctrlP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𝛽</m:t>
                                  </m:r>
                                </m:e>
                                <m:sub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sub>
                              </m:sSub>
                            </m:lim>
                          </m:limLow>
                        </m:fName>
                        <m:e>
                          <m:sSup>
                            <m:sSupPr>
                              <m:ctrlPr>
                                <a:rPr lang="en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d>
                                <m:dPr>
                                  <m:begChr m:val="‖"/>
                                  <m:endChr m:val="‖"/>
                                  <m:ctrlPr>
                                    <a:rPr lang="en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  <m:d>
                                    <m:dPr>
                                      <m:ctrlPr>
                                        <a:rPr lang="en-US" b="0" i="1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en-US" b="0" i="1" smtClean="0">
                                          <a:latin typeface="Cambria Math" panose="02040503050406030204" pitchFamily="18" charset="0"/>
                                        </a:rPr>
                                        <m:t>𝑖</m:t>
                                      </m:r>
                                      <m:r>
                                        <a:rPr lang="en-US" b="0" i="1" smtClean="0">
                                          <a:latin typeface="Cambria Math" panose="02040503050406030204" pitchFamily="18" charset="0"/>
                                        </a:rPr>
                                        <m:t>+1,</m:t>
                                      </m:r>
                                      <m:sSub>
                                        <m:sSubPr>
                                          <m:ctrlPr>
                                            <a:rPr lang="en-US" b="0" i="1" smtClean="0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en-US" b="0" i="1" smtClean="0">
                                              <a:latin typeface="Cambria Math" panose="02040503050406030204" pitchFamily="18" charset="0"/>
                                            </a:rPr>
                                            <m:t>𝑆</m:t>
                                          </m:r>
                                        </m:e>
                                        <m:sub>
                                          <m:r>
                                            <a:rPr lang="en-US" b="0" i="1" smtClean="0">
                                              <a:latin typeface="Cambria Math" panose="02040503050406030204" pitchFamily="18" charset="0"/>
                                            </a:rPr>
                                            <m:t>𝑖</m:t>
                                          </m:r>
                                          <m:r>
                                            <a:rPr lang="en-US" b="0" i="1" smtClean="0">
                                              <a:latin typeface="Cambria Math" panose="02040503050406030204" pitchFamily="18" charset="0"/>
                                            </a:rPr>
                                            <m:t>+1</m:t>
                                          </m:r>
                                        </m:sub>
                                      </m:sSub>
                                    </m:e>
                                  </m:d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sSup>
                                    <m:sSupPr>
                                      <m:ctrlPr>
                                        <a:rPr lang="en-US" b="0" i="1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US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𝜓</m:t>
                                      </m:r>
                                      <m:r>
                                        <a:rPr lang="en-US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(</m:t>
                                      </m:r>
                                      <m:sSub>
                                        <m:sSubPr>
                                          <m:ctrlPr>
                                            <a:rPr lang="en-US" b="0" i="1" smtClean="0">
                                              <a:latin typeface="Cambria Math" panose="02040503050406030204" pitchFamily="18" charset="0"/>
                                              <a:ea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en-US" b="0" i="1" smtClean="0">
                                              <a:latin typeface="Cambria Math" panose="02040503050406030204" pitchFamily="18" charset="0"/>
                                              <a:ea typeface="Cambria Math" panose="02040503050406030204" pitchFamily="18" charset="0"/>
                                            </a:rPr>
                                            <m:t>𝑆</m:t>
                                          </m:r>
                                        </m:e>
                                        <m:sub>
                                          <m:r>
                                            <a:rPr lang="en-US" b="0" i="1" smtClean="0">
                                              <a:latin typeface="Cambria Math" panose="02040503050406030204" pitchFamily="18" charset="0"/>
                                              <a:ea typeface="Cambria Math" panose="02040503050406030204" pitchFamily="18" charset="0"/>
                                            </a:rPr>
                                            <m:t>𝑖</m:t>
                                          </m:r>
                                        </m:sub>
                                      </m:sSub>
                                      <m:r>
                                        <a:rPr lang="en-US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)</m:t>
                                      </m:r>
                                    </m:e>
                                    <m:sup>
                                      <m:r>
                                        <a:rPr lang="en-US" b="0" i="1" smtClean="0">
                                          <a:latin typeface="Cambria Math" panose="02040503050406030204" pitchFamily="18" charset="0"/>
                                        </a:rPr>
                                        <m:t>𝑇</m:t>
                                      </m:r>
                                    </m:sup>
                                  </m:sSup>
                                  <m:sSub>
                                    <m:sSubPr>
                                      <m:ctrlPr>
                                        <a:rPr lang="en-US" b="0" i="1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𝛽</m:t>
                                      </m:r>
                                    </m:e>
                                    <m:sub>
                                      <m:r>
                                        <a:rPr lang="en-US" b="0" i="1" smtClean="0">
                                          <a:latin typeface="Cambria Math" panose="02040503050406030204" pitchFamily="18" charset="0"/>
                                        </a:rPr>
                                        <m:t>𝑖</m:t>
                                      </m:r>
                                    </m:sub>
                                  </m:sSub>
                                </m:e>
                              </m:d>
                            </m:e>
                            <m:sup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p>
                        </m:e>
                      </m:func>
                    </m:oMath>
                  </m:oMathPara>
                </a14:m>
                <a:endParaRPr lang="ru-RU" dirty="0"/>
              </a:p>
            </p:txBody>
          </p:sp>
        </mc:Choice>
        <mc:Fallback xmlns="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3CA650E9-DC2F-C44A-83EB-B936CBB8C40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47561" y="4373274"/>
                <a:ext cx="3247749" cy="402482"/>
              </a:xfrm>
              <a:prstGeom prst="rect">
                <a:avLst/>
              </a:prstGeom>
              <a:blipFill>
                <a:blip r:embed="rId7"/>
                <a:stretch>
                  <a:fillRect l="-1167" b="-21875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044F5658-072F-7B48-814A-37CD13EE3890}"/>
                  </a:ext>
                </a:extLst>
              </p:cNvPr>
              <p:cNvSpPr txBox="1"/>
              <p:nvPr/>
            </p:nvSpPr>
            <p:spPr>
              <a:xfrm>
                <a:off x="4964934" y="4375101"/>
                <a:ext cx="5633292" cy="38151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dirty="0"/>
                  <a:t>Здесь</a:t>
                </a:r>
                <a:r>
                  <a:rPr lang="en-US" b="0" dirty="0">
                    <a:ea typeface="Cambria Math" panose="02040503050406030204" pitchFamily="18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𝜓</m:t>
                    </m:r>
                    <m:d>
                      <m:dPr>
                        <m:ctrlPr>
                          <a:rPr lang="en-US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𝑆</m:t>
                            </m:r>
                          </m:e>
                          <m:sub>
                            <m:r>
                              <a:rPr lang="en-US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𝑖</m:t>
                            </m:r>
                          </m:sub>
                        </m:sSub>
                      </m:e>
                    </m:d>
                    <m:r>
                      <a:rPr lang="ru-RU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=</m:t>
                    </m:r>
                    <m:sSub>
                      <m:sSubPr>
                        <m:ctrlPr>
                          <a:rPr lang="ru-RU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ru-RU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(</m:t>
                        </m:r>
                        <m:sSub>
                          <m:sSubPr>
                            <m:ctrlPr>
                              <a:rPr lang="ru-RU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ru-RU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𝜓</m:t>
                            </m:r>
                          </m:e>
                          <m:sub>
                            <m:r>
                              <a:rPr lang="en-US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𝑘</m:t>
                            </m:r>
                          </m:sub>
                        </m:sSub>
                        <m:r>
                          <a:rPr lang="en-US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(</m:t>
                        </m:r>
                        <m:sSubSup>
                          <m:sSubSupPr>
                            <m:ctrlPr>
                              <a:rPr lang="ru-RU" i="1" smtClean="0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𝑆</m:t>
                            </m:r>
                          </m:e>
                          <m:sub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𝑖</m:t>
                            </m:r>
                          </m:sub>
                          <m:sup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𝑛</m:t>
                            </m:r>
                          </m:sup>
                        </m:sSubSup>
                        <m:r>
                          <a:rPr lang="en-US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)</m:t>
                        </m:r>
                        <m:r>
                          <a:rPr lang="ru-RU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)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𝑘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,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𝑛</m:t>
                        </m:r>
                      </m:sub>
                    </m:sSub>
                    <m:r>
                      <a:rPr lang="en-US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−</m:t>
                    </m:r>
                    <m:r>
                      <a:rPr lang="ru-RU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это матрица </m:t>
                    </m:r>
                    <m:r>
                      <a:rPr lang="en-US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𝑀</m:t>
                    </m:r>
                    <m:r>
                      <a:rPr lang="en-US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×</m:t>
                    </m:r>
                    <m:r>
                      <a:rPr lang="en-US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𝑁</m:t>
                    </m:r>
                    <m:r>
                      <a:rPr lang="ru-RU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</m:oMath>
                </a14:m>
                <a:endParaRPr lang="ru-RU" dirty="0"/>
              </a:p>
            </p:txBody>
          </p:sp>
        </mc:Choice>
        <mc:Fallback xmlns=""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044F5658-072F-7B48-814A-37CD13EE389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964934" y="4375101"/>
                <a:ext cx="5633292" cy="381515"/>
              </a:xfrm>
              <a:prstGeom prst="rect">
                <a:avLst/>
              </a:prstGeom>
              <a:blipFill>
                <a:blip r:embed="rId8"/>
                <a:stretch>
                  <a:fillRect l="-899" t="-6452" b="-22581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035520AB-9661-3248-B8F6-88F4D9A71FCF}"/>
                  </a:ext>
                </a:extLst>
              </p:cNvPr>
              <p:cNvSpPr txBox="1"/>
              <p:nvPr/>
            </p:nvSpPr>
            <p:spPr>
              <a:xfrm>
                <a:off x="5227717" y="4947863"/>
                <a:ext cx="5370509" cy="278025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𝑉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(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𝑖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+1,</m:t>
                    </m:r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𝑆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+1</m:t>
                        </m:r>
                      </m:sub>
                    </m:sSub>
                  </m:oMath>
                </a14:m>
                <a:r>
                  <a:rPr lang="en-US" dirty="0"/>
                  <a:t>)=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i="1" dirty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dirty="0" smtClean="0">
                            <a:latin typeface="Cambria Math" panose="02040503050406030204" pitchFamily="18" charset="0"/>
                          </a:rPr>
                          <m:t>(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𝑉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(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+1,</m:t>
                        </m:r>
                        <m:sSubSup>
                          <m:sSubSupPr>
                            <m:ctrlPr>
                              <a:rPr lang="en-US" b="0" i="1" smtClean="0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𝑆</m:t>
                            </m:r>
                          </m:e>
                          <m:sub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𝑖</m:t>
                            </m:r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+1</m:t>
                            </m:r>
                          </m:sub>
                          <m:sup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𝑛</m:t>
                            </m:r>
                          </m:sup>
                        </m:sSubSup>
                        <m:r>
                          <m:rPr>
                            <m:nor/>
                          </m:rPr>
                          <a:rPr lang="en-US" dirty="0"/>
                          <m:t>)=</m:t>
                        </m:r>
                        <m:r>
                          <a:rPr lang="en-US" b="0" i="1" dirty="0" smtClean="0">
                            <a:latin typeface="Cambria Math" panose="02040503050406030204" pitchFamily="18" charset="0"/>
                          </a:rPr>
                          <m:t>)</m:t>
                        </m:r>
                      </m:e>
                      <m:sub>
                        <m:r>
                          <a:rPr lang="en-US" b="0" i="1" dirty="0" smtClean="0">
                            <a:latin typeface="Cambria Math" panose="02040503050406030204" pitchFamily="18" charset="0"/>
                          </a:rPr>
                          <m:t>𝑛</m:t>
                        </m:r>
                        <m:r>
                          <a:rPr lang="en-US" b="0" i="1" dirty="0" smtClean="0">
                            <a:latin typeface="Cambria Math" panose="02040503050406030204" pitchFamily="18" charset="0"/>
                          </a:rPr>
                          <m:t>=1…</m:t>
                        </m:r>
                        <m:r>
                          <a:rPr lang="en-US" b="0" i="1" dirty="0" smtClean="0">
                            <a:latin typeface="Cambria Math" panose="02040503050406030204" pitchFamily="18" charset="0"/>
                          </a:rPr>
                          <m:t>𝑁</m:t>
                        </m:r>
                      </m:sub>
                    </m:sSub>
                  </m:oMath>
                </a14:m>
                <a:r>
                  <a:rPr lang="en-US" dirty="0"/>
                  <a:t>- </a:t>
                </a:r>
                <a:r>
                  <a:rPr lang="ru-RU" dirty="0"/>
                  <a:t>это </a:t>
                </a:r>
                <a:r>
                  <a:rPr lang="en-US" dirty="0"/>
                  <a:t>N</a:t>
                </a:r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×1 </m:t>
                    </m:r>
                    <m:r>
                      <a:rPr lang="ru-RU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вектор  </m:t>
                    </m:r>
                  </m:oMath>
                </a14:m>
                <a:endParaRPr lang="ru-RU" dirty="0"/>
              </a:p>
            </p:txBody>
          </p:sp>
        </mc:Choice>
        <mc:Fallback xmlns=""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035520AB-9661-3248-B8F6-88F4D9A71FC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227717" y="4947863"/>
                <a:ext cx="5370509" cy="278025"/>
              </a:xfrm>
              <a:prstGeom prst="rect">
                <a:avLst/>
              </a:prstGeom>
              <a:blipFill>
                <a:blip r:embed="rId9"/>
                <a:stretch>
                  <a:fillRect l="-1415" t="-21739" r="-2123" b="-47826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A77CC170-ED3E-7B4D-8AE1-E7D3DF0D2A3D}"/>
                  </a:ext>
                </a:extLst>
              </p:cNvPr>
              <p:cNvSpPr txBox="1"/>
              <p:nvPr/>
            </p:nvSpPr>
            <p:spPr>
              <a:xfrm>
                <a:off x="462708" y="5086875"/>
                <a:ext cx="3936719" cy="36676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ru-RU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acc>
                            <m:accPr>
                              <m:chr m:val="̂"/>
                              <m:ctrlPr>
                                <a:rPr lang="ru-RU" i="1" smtClean="0"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ru-RU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𝛽</m:t>
                              </m:r>
                            </m:e>
                          </m:acc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sSup>
                        <m:s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d>
                            <m:d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d>
                                <m:dPr>
                                  <m:ctrlP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𝜓</m:t>
                                  </m:r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(</m:t>
                                  </m:r>
                                  <m:sSub>
                                    <m:sSubPr>
                                      <m:ctrlPr>
                                        <a:rPr lang="en-US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𝑆</m:t>
                                      </m:r>
                                    </m:e>
                                    <m:sub>
                                      <m:r>
                                        <a:rPr lang="en-US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𝑖</m:t>
                                      </m:r>
                                    </m:sub>
                                  </m:sSub>
                                </m:e>
                              </m:d>
                              <m:sSup>
                                <m:sSupPr>
                                  <m:ctrlP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𝜓</m:t>
                                  </m:r>
                                  <m:d>
                                    <m:dPr>
                                      <m:ctrlPr>
                                        <a:rPr lang="en-US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sSub>
                                        <m:sSubPr>
                                          <m:ctrlPr>
                                            <a:rPr lang="en-US" b="0" i="1" smtClean="0">
                                              <a:latin typeface="Cambria Math" panose="02040503050406030204" pitchFamily="18" charset="0"/>
                                              <a:ea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en-US" b="0" i="1" smtClean="0">
                                              <a:latin typeface="Cambria Math" panose="02040503050406030204" pitchFamily="18" charset="0"/>
                                              <a:ea typeface="Cambria Math" panose="02040503050406030204" pitchFamily="18" charset="0"/>
                                            </a:rPr>
                                            <m:t>𝑆</m:t>
                                          </m:r>
                                        </m:e>
                                        <m:sub>
                                          <m:r>
                                            <a:rPr lang="en-US" b="0" i="1" smtClean="0">
                                              <a:latin typeface="Cambria Math" panose="02040503050406030204" pitchFamily="18" charset="0"/>
                                              <a:ea typeface="Cambria Math" panose="02040503050406030204" pitchFamily="18" charset="0"/>
                                            </a:rPr>
                                            <m:t>𝑖</m:t>
                                          </m:r>
                                        </m:sub>
                                      </m:sSub>
                                    </m:e>
                                  </m:d>
                                </m:e>
                                <m:sup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𝑇</m:t>
                                  </m:r>
                                </m:sup>
                              </m:sSup>
                            </m:e>
                          </m:d>
                        </m:e>
                        <m: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−1</m:t>
                          </m:r>
                        </m:sup>
                      </m:sSup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𝜓</m:t>
                      </m:r>
                      <m:d>
                        <m:dPr>
                          <m:ctrlP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𝑆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</m:e>
                      </m:d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𝑉</m:t>
                      </m:r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(</m:t>
                      </m:r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𝑖</m:t>
                      </m:r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1,</m:t>
                      </m:r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𝑆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ru-RU" dirty="0"/>
              </a:p>
            </p:txBody>
          </p:sp>
        </mc:Choice>
        <mc:Fallback xmlns=""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A77CC170-ED3E-7B4D-8AE1-E7D3DF0D2A3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62708" y="5086875"/>
                <a:ext cx="3936719" cy="366767"/>
              </a:xfrm>
              <a:prstGeom prst="rect">
                <a:avLst/>
              </a:prstGeom>
              <a:blipFill>
                <a:blip r:embed="rId10"/>
                <a:stretch>
                  <a:fillRect l="-1608" r="-1608" b="-23333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7F84ECE1-029D-2547-BFA4-DFF3E361C835}"/>
                  </a:ext>
                </a:extLst>
              </p:cNvPr>
              <p:cNvSpPr txBox="1"/>
              <p:nvPr/>
            </p:nvSpPr>
            <p:spPr>
              <a:xfrm>
                <a:off x="649995" y="5929704"/>
                <a:ext cx="7365093" cy="31784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𝐶𝑉</m:t>
                    </m:r>
                    <m:d>
                      <m:d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</m:d>
                    <m:r>
                      <a:rPr lang="en-US" b="0" i="0" smtClean="0">
                        <a:latin typeface="Cambria Math" panose="02040503050406030204" pitchFamily="18" charset="0"/>
                      </a:rPr>
                      <m:t>≔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𝐸</m:t>
                    </m:r>
                    <m:d>
                      <m:dPr>
                        <m:begChr m:val="["/>
                        <m:endChr m:val="]"/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p>
                          <m:sSupPr>
                            <m:ctrlPr>
                              <a:rPr lang="en-US" b="0" i="1" smtClean="0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𝑒</m:t>
                            </m:r>
                          </m:e>
                          <m:sup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−</m:t>
                            </m:r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𝑟</m:t>
                            </m:r>
                            <m:d>
                              <m:dPr>
                                <m:ctrlP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sSub>
                                  <m:sSubPr>
                                    <m:ctrlP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e>
                                  <m:sub>
                                    <m: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  <m:t>𝑖</m:t>
                                    </m:r>
                                    <m: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  <m:t>+1</m:t>
                                    </m:r>
                                  </m:sub>
                                </m:sSub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  <m:t>−</m:t>
                                </m:r>
                                <m:sSub>
                                  <m:sSubPr>
                                    <m:ctrlP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e>
                                  <m:sub>
                                    <m: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  <m:t>𝑖</m:t>
                                    </m:r>
                                  </m:sub>
                                </m:sSub>
                              </m:e>
                            </m:d>
                          </m:sup>
                        </m:sSup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𝑉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(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+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,</m:t>
                        </m:r>
                        <m:sSub>
                          <m:sSubPr>
                            <m:ctrlPr>
                              <a:rPr lang="en-US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𝑆</m:t>
                            </m:r>
                          </m:e>
                          <m:sub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𝑖</m:t>
                            </m:r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+1</m:t>
                            </m:r>
                          </m:sub>
                        </m:sSub>
                        <m:r>
                          <a:rPr lang="ru-RU" b="0" i="1" smtClean="0">
                            <a:latin typeface="Cambria Math" panose="02040503050406030204" pitchFamily="18" charset="0"/>
                          </a:rPr>
                          <m:t>)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|</m:t>
                        </m:r>
                        <m:sSub>
                          <m:sSubPr>
                            <m:ctrlPr>
                              <a:rPr lang="en-US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𝑆</m:t>
                            </m:r>
                          </m:e>
                          <m:sub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𝑖</m:t>
                            </m:r>
                          </m:sub>
                        </m:s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=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</m:d>
                    <m:r>
                      <a:rPr lang="en-US" b="0" i="1" smtClean="0">
                        <a:latin typeface="Cambria Math" panose="02040503050406030204" pitchFamily="18" charset="0"/>
                      </a:rPr>
                      <m:t>≔</m:t>
                    </m:r>
                    <m:sSup>
                      <m:sSup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𝑒</m:t>
                        </m:r>
                      </m:e>
                      <m:sup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−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𝑟</m:t>
                        </m:r>
                        <m:d>
                          <m:dPr>
                            <m:ctrlPr>
                              <a:rPr lang="en-US" b="0" i="1" smtClea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sSub>
                              <m:sSubPr>
                                <m:ctrlP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  <m:t>𝑡</m:t>
                                </m:r>
                              </m:e>
                              <m:sub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  <m:t>𝑖</m:t>
                                </m:r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  <m:t>+1</m:t>
                                </m:r>
                              </m:sub>
                            </m:sSub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−</m:t>
                            </m:r>
                            <m:sSub>
                              <m:sSubPr>
                                <m:ctrlP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  <m:t>𝑡</m:t>
                                </m:r>
                              </m:e>
                              <m:sub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  <m:t>𝑖</m:t>
                                </m:r>
                              </m:sub>
                            </m:sSub>
                          </m:e>
                        </m:d>
                      </m:sup>
                    </m:sSup>
                  </m:oMath>
                </a14:m>
                <a:r>
                  <a:rPr lang="en-US" b="0" dirty="0">
                    <a:ea typeface="Cambria Math" panose="02040503050406030204" pitchFamily="18" charset="0"/>
                  </a:rPr>
                  <a:t> </a:t>
                </a:r>
                <a14:m>
                  <m:oMath xmlns:m="http://schemas.openxmlformats.org/officeDocument/2006/math">
                    <m:nary>
                      <m:naryPr>
                        <m:chr m:val="∑"/>
                        <m:limLoc m:val="subSup"/>
                        <m:ctrlPr>
                          <a:rPr lang="en-US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brk m:alnAt="25"/>
                          </m:rPr>
                          <a:rPr lang="en-US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𝑘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=1</m:t>
                        </m:r>
                      </m:sub>
                      <m:sup>
                        <m:r>
                          <a:rPr lang="en-US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𝑀</m:t>
                        </m:r>
                      </m:sup>
                      <m:e>
                        <m:acc>
                          <m:accPr>
                            <m:chr m:val="̂"/>
                            <m:ctrlPr>
                              <a:rPr lang="en-US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accPr>
                          <m:e>
                            <m:sSub>
                              <m:sSubPr>
                                <m:ctrlPr>
                                  <a:rPr lang="en-US" b="0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𝛽</m:t>
                                </m:r>
                              </m:e>
                              <m:sub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𝑖𝑘</m:t>
                                </m:r>
                              </m:sub>
                            </m:sSub>
                          </m:e>
                        </m:acc>
                        <m:sSub>
                          <m:sSubPr>
                            <m:ctrlPr>
                              <a:rPr lang="en-US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𝜓</m:t>
                            </m:r>
                          </m:e>
                          <m:sub>
                            <m:r>
                              <a:rPr lang="en-US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𝑘</m:t>
                            </m:r>
                          </m:sub>
                        </m:sSub>
                        <m:d>
                          <m:dPr>
                            <m:ctrlPr>
                              <a:rPr lang="en-US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US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𝑥</m:t>
                            </m:r>
                          </m:e>
                        </m:d>
                      </m:e>
                    </m:nary>
                  </m:oMath>
                </a14:m>
                <a:endParaRPr lang="ru-RU" dirty="0"/>
              </a:p>
            </p:txBody>
          </p:sp>
        </mc:Choice>
        <mc:Fallback xmlns=""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7F84ECE1-029D-2547-BFA4-DFF3E361C83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49995" y="5929704"/>
                <a:ext cx="7365093" cy="317844"/>
              </a:xfrm>
              <a:prstGeom prst="rect">
                <a:avLst/>
              </a:prstGeom>
              <a:blipFill>
                <a:blip r:embed="rId11"/>
                <a:stretch>
                  <a:fillRect l="-1033" t="-134615" b="-200000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5" name="Рамка 14">
            <a:extLst>
              <a:ext uri="{FF2B5EF4-FFF2-40B4-BE49-F238E27FC236}">
                <a16:creationId xmlns:a16="http://schemas.microsoft.com/office/drawing/2014/main" id="{71DA36FB-5B6C-DE41-805C-E3C50EACBB39}"/>
              </a:ext>
            </a:extLst>
          </p:cNvPr>
          <p:cNvSpPr/>
          <p:nvPr/>
        </p:nvSpPr>
        <p:spPr>
          <a:xfrm>
            <a:off x="462708" y="5783855"/>
            <a:ext cx="7733841" cy="848299"/>
          </a:xfrm>
          <a:prstGeom prst="frame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16" name="Рамка 15">
            <a:extLst>
              <a:ext uri="{FF2B5EF4-FFF2-40B4-BE49-F238E27FC236}">
                <a16:creationId xmlns:a16="http://schemas.microsoft.com/office/drawing/2014/main" id="{B0CBD763-1EEC-BB41-9229-22DB4348B9BF}"/>
              </a:ext>
            </a:extLst>
          </p:cNvPr>
          <p:cNvSpPr/>
          <p:nvPr/>
        </p:nvSpPr>
        <p:spPr>
          <a:xfrm>
            <a:off x="242371" y="3258939"/>
            <a:ext cx="4307595" cy="564311"/>
          </a:xfrm>
          <a:prstGeom prst="frame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116572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8325" y="198461"/>
            <a:ext cx="10515600" cy="377026"/>
          </a:xfrm>
        </p:spPr>
        <p:txBody>
          <a:bodyPr>
            <a:normAutofit fontScale="90000"/>
          </a:bodyPr>
          <a:lstStyle/>
          <a:p>
            <a:r>
              <a:rPr lang="en-US" dirty="0"/>
              <a:t>AMC </a:t>
            </a:r>
            <a:r>
              <a:rPr lang="ru-RU" dirty="0"/>
              <a:t>для </a:t>
            </a:r>
            <a:r>
              <a:rPr lang="en-US" dirty="0"/>
              <a:t>CVA</a:t>
            </a:r>
            <a:endParaRPr lang="ru-RU" dirty="0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5" name="Прямоугольник 4"/>
              <p:cNvSpPr/>
              <p:nvPr/>
            </p:nvSpPr>
            <p:spPr>
              <a:xfrm>
                <a:off x="288649" y="698606"/>
                <a:ext cx="9224699" cy="83099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ru-RU" sz="1600" dirty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Напомним, что </a:t>
                </a:r>
                <a:r>
                  <a:rPr lang="en-US" sz="1600" dirty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CVA – </a:t>
                </a:r>
                <a:r>
                  <a:rPr lang="ru-RU" sz="1600" dirty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ожидаемые (в риск-нейтральной мере) потери банка при дефолте контрагента, равные </a:t>
                </a:r>
                <a14:m>
                  <m:oMath xmlns:m="http://schemas.openxmlformats.org/officeDocument/2006/math">
                    <m:r>
                      <a:rPr lang="ru-RU" sz="1600" b="0" i="1" smtClean="0"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−(1−</m:t>
                    </m:r>
                    <m:r>
                      <a:rPr lang="en-US" sz="1600" b="0" i="1" smtClean="0"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𝑅𝑅</m:t>
                    </m:r>
                    <m:r>
                      <a:rPr lang="en-US" sz="1600" b="0" i="1" smtClean="0"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)∗</m:t>
                    </m:r>
                    <m:r>
                      <a:rPr lang="en-US" sz="1600" b="0" i="1" smtClean="0"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𝑀𝑡𝑀</m:t>
                    </m:r>
                  </m:oMath>
                </a14:m>
                <a:r>
                  <a:rPr lang="en-US" sz="1600" dirty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, </a:t>
                </a:r>
                <a:r>
                  <a:rPr lang="ru-RU" sz="1600" dirty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где </a:t>
                </a:r>
                <a:r>
                  <a:rPr lang="en-US" sz="1600" dirty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RR-recovery rate</a:t>
                </a:r>
                <a:r>
                  <a:rPr lang="ru-RU" sz="1600" dirty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:</a:t>
                </a:r>
                <a:endParaRPr lang="en-US" sz="1600" dirty="0">
                  <a:solidFill>
                    <a:srgbClr val="575757">
                      <a:lumMod val="50000"/>
                    </a:srgbClr>
                  </a:solidFill>
                  <a:latin typeface="SB Sans Display Light" panose="020B0303040504020204" pitchFamily="34" charset="0"/>
                  <a:cs typeface="SB Sans Display Light" panose="020B0303040504020204" pitchFamily="34" charset="0"/>
                </a:endParaRPr>
              </a:p>
              <a:p>
                <a:endParaRPr lang="ru-RU" sz="1600" dirty="0">
                  <a:solidFill>
                    <a:srgbClr val="575757">
                      <a:lumMod val="50000"/>
                    </a:srgbClr>
                  </a:solidFill>
                  <a:latin typeface="SB Sans Display Light" panose="020B0303040504020204" pitchFamily="34" charset="0"/>
                  <a:cs typeface="SB Sans Display Light" panose="020B0303040504020204" pitchFamily="34" charset="0"/>
                </a:endParaRPr>
              </a:p>
            </p:txBody>
          </p:sp>
        </mc:Choice>
        <mc:Fallback>
          <p:sp>
            <p:nvSpPr>
              <p:cNvPr id="5" name="Прямоугольник 4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88649" y="698606"/>
                <a:ext cx="9224699" cy="830997"/>
              </a:xfrm>
              <a:prstGeom prst="rect">
                <a:avLst/>
              </a:prstGeom>
              <a:blipFill>
                <a:blip r:embed="rId2"/>
                <a:stretch>
                  <a:fillRect l="-275" t="-3030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8" name="Прямоугольник 7"/>
              <p:cNvSpPr/>
              <p:nvPr/>
            </p:nvSpPr>
            <p:spPr>
              <a:xfrm>
                <a:off x="6967470" y="3048739"/>
                <a:ext cx="5270998" cy="1225464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ru-RU" sz="1600" dirty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Получаем:</a:t>
                </a:r>
                <a:endParaRPr lang="en-US" sz="1600" dirty="0">
                  <a:solidFill>
                    <a:srgbClr val="575757">
                      <a:lumMod val="50000"/>
                    </a:srgbClr>
                  </a:solidFill>
                  <a:latin typeface="SB Sans Display Light" panose="020B0303040504020204" pitchFamily="34" charset="0"/>
                  <a:cs typeface="SB Sans Display Light" panose="020B0303040504020204" pitchFamily="34" charset="0"/>
                </a:endParaRPr>
              </a:p>
              <a:p>
                <a:pPr algn="ctr">
                  <a:spcAft>
                    <a:spcPts val="127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Cambria Math" panose="02040503050406030204" pitchFamily="18" charset="0"/>
                          <a:cs typeface="SB Sans Display Light" panose="020B0303040504020204" pitchFamily="34" charset="0"/>
                        </a:rPr>
                        <m:t>𝐶𝑉𝐴</m:t>
                      </m:r>
                      <m:r>
                        <a:rPr lang="en-US" sz="1600" b="0" i="1" smtClean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Cambria Math" panose="02040503050406030204" pitchFamily="18" charset="0"/>
                          <a:cs typeface="SB Sans Display Light" panose="020B0303040504020204" pitchFamily="34" charset="0"/>
                        </a:rPr>
                        <m:t>≈−</m:t>
                      </m:r>
                      <m:d>
                        <m:dPr>
                          <m:ctrlPr>
                            <a:rPr lang="en-US" sz="1600" b="0" i="1" smtClean="0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</m:ctrlPr>
                        </m:dPr>
                        <m:e>
                          <m:r>
                            <a:rPr lang="en-US" sz="1600" b="0" i="1" smtClean="0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  <m:t>1−</m:t>
                          </m:r>
                          <m:r>
                            <a:rPr lang="en-US" sz="1600" b="0" i="1" smtClean="0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  <m:t>𝑅𝑅</m:t>
                          </m:r>
                        </m:e>
                      </m:d>
                      <m:f>
                        <m:fPr>
                          <m:ctrlPr>
                            <a:rPr lang="en-US" sz="1600" b="0" i="1" smtClean="0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  <m:t>1</m:t>
                          </m:r>
                        </m:num>
                        <m:den>
                          <m:r>
                            <a:rPr lang="en-US" sz="1600" b="0" i="1" smtClean="0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  <m:t>𝑁</m:t>
                          </m:r>
                        </m:den>
                      </m:f>
                      <m:nary>
                        <m:naryPr>
                          <m:chr m:val="∑"/>
                          <m:ctrlPr>
                            <a:rPr lang="en-US" sz="1600" i="1" smtClean="0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en-US" sz="1600" i="1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en-US" sz="1600" i="1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r>
                            <a:rPr lang="en-US" sz="1600" i="1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</a:rPr>
                            <m:t>𝑁</m:t>
                          </m:r>
                        </m:sup>
                        <m:e>
                          <m:nary>
                            <m:naryPr>
                              <m:chr m:val="∑"/>
                              <m:ctrlPr>
                                <a:rPr lang="en-US" sz="1600" i="1" smtClean="0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en-US" sz="1600" b="0" i="1" smtClean="0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en-US" sz="1600" b="0" i="1" smtClean="0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en-US" sz="1600" b="0" i="1" smtClean="0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</a:rPr>
                                <m:t>𝑀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sz="1600" i="1" dirty="0">
                                      <a:solidFill>
                                        <a:srgbClr val="575757">
                                          <a:lumMod val="50000"/>
                                        </a:srgbClr>
                                      </a:solidFill>
                                      <a:latin typeface="Cambria Math" panose="02040503050406030204" pitchFamily="18" charset="0"/>
                                      <a:cs typeface="SB Sans Display Light" panose="020B0303040504020204" pitchFamily="34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en-US" sz="1600" i="1">
                                      <a:solidFill>
                                        <a:srgbClr val="575757">
                                          <a:lumMod val="50000"/>
                                        </a:srgbClr>
                                      </a:solidFill>
                                      <a:latin typeface="Cambria Math" panose="02040503050406030204" pitchFamily="18" charset="0"/>
                                      <a:cs typeface="SB Sans Display Light" panose="020B0303040504020204" pitchFamily="34" charset="0"/>
                                    </a:rPr>
                                    <m:t>𝐷</m:t>
                                  </m:r>
                                  <m:d>
                                    <m:dPr>
                                      <m:ctrlPr>
                                        <a:rPr lang="en-US" sz="1600" i="1">
                                          <a:solidFill>
                                            <a:srgbClr val="575757">
                                              <a:lumMod val="50000"/>
                                            </a:srgbClr>
                                          </a:solidFill>
                                          <a:latin typeface="Cambria Math" panose="02040503050406030204" pitchFamily="18" charset="0"/>
                                          <a:cs typeface="SB Sans Display Light" panose="020B0303040504020204" pitchFamily="34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en-US" sz="1600" i="1">
                                          <a:solidFill>
                                            <a:srgbClr val="575757">
                                              <a:lumMod val="50000"/>
                                            </a:srgbClr>
                                          </a:solidFill>
                                          <a:latin typeface="Cambria Math" panose="02040503050406030204" pitchFamily="18" charset="0"/>
                                          <a:cs typeface="SB Sans Display Light" panose="020B0303040504020204" pitchFamily="34" charset="0"/>
                                        </a:rPr>
                                        <m:t>0,</m:t>
                                      </m:r>
                                      <m:sSub>
                                        <m:sSubPr>
                                          <m:ctrlPr>
                                            <a:rPr lang="en-US" sz="1600" i="1">
                                              <a:solidFill>
                                                <a:srgbClr val="575757">
                                                  <a:lumMod val="50000"/>
                                                </a:srgbClr>
                                              </a:solidFill>
                                              <a:latin typeface="Cambria Math" panose="02040503050406030204" pitchFamily="18" charset="0"/>
                                              <a:cs typeface="SB Sans Display Light" panose="020B0303040504020204" pitchFamily="34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en-US" sz="1600" i="1">
                                              <a:solidFill>
                                                <a:srgbClr val="575757">
                                                  <a:lumMod val="50000"/>
                                                </a:srgbClr>
                                              </a:solidFill>
                                              <a:latin typeface="Cambria Math" panose="02040503050406030204" pitchFamily="18" charset="0"/>
                                              <a:cs typeface="SB Sans Display Light" panose="020B0303040504020204" pitchFamily="34" charset="0"/>
                                            </a:rPr>
                                            <m:t>𝑡</m:t>
                                          </m:r>
                                        </m:e>
                                        <m:sub>
                                          <m:r>
                                            <a:rPr lang="en-US" sz="1600" i="1">
                                              <a:solidFill>
                                                <a:srgbClr val="575757">
                                                  <a:lumMod val="50000"/>
                                                </a:srgbClr>
                                              </a:solidFill>
                                              <a:latin typeface="Cambria Math" panose="02040503050406030204" pitchFamily="18" charset="0"/>
                                              <a:cs typeface="SB Sans Display Light" panose="020B0303040504020204" pitchFamily="34" charset="0"/>
                                            </a:rPr>
                                            <m:t>𝑖</m:t>
                                          </m:r>
                                        </m:sub>
                                      </m:sSub>
                                    </m:e>
                                  </m:d>
                                  <m:acc>
                                    <m:accPr>
                                      <m:chr m:val="̃"/>
                                      <m:ctrlPr>
                                        <a:rPr lang="en-US" sz="1600" i="1" dirty="0">
                                          <a:solidFill>
                                            <a:srgbClr val="575757">
                                              <a:lumMod val="50000"/>
                                            </a:srgbClr>
                                          </a:solidFill>
                                          <a:latin typeface="Cambria Math" panose="02040503050406030204" pitchFamily="18" charset="0"/>
                                          <a:cs typeface="SB Sans Display Light" panose="020B0303040504020204" pitchFamily="34" charset="0"/>
                                        </a:rPr>
                                      </m:ctrlPr>
                                    </m:accPr>
                                    <m:e>
                                      <m:r>
                                        <a:rPr lang="en-US" sz="1600" i="1" dirty="0">
                                          <a:solidFill>
                                            <a:srgbClr val="575757">
                                              <a:lumMod val="50000"/>
                                            </a:srgbClr>
                                          </a:solidFill>
                                          <a:latin typeface="Cambria Math" panose="02040503050406030204" pitchFamily="18" charset="0"/>
                                          <a:cs typeface="SB Sans Display Light" panose="020B0303040504020204" pitchFamily="34" charset="0"/>
                                        </a:rPr>
                                        <m:t>𝑉</m:t>
                                      </m:r>
                                    </m:e>
                                  </m:acc>
                                </m:e>
                                <m:sub>
                                  <m:sSub>
                                    <m:sSubPr>
                                      <m:ctrlPr>
                                        <a:rPr lang="en-US" sz="1600" i="1" dirty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sz="1600" i="1" dirty="0">
                                          <a:latin typeface="Cambria Math" panose="02040503050406030204" pitchFamily="18" charset="0"/>
                                        </a:rPr>
                                        <m:t>𝑡</m:t>
                                      </m:r>
                                    </m:e>
                                    <m:sub>
                                      <m:r>
                                        <a:rPr lang="en-US" sz="1600" i="1" dirty="0">
                                          <a:latin typeface="Cambria Math" panose="02040503050406030204" pitchFamily="18" charset="0"/>
                                        </a:rPr>
                                        <m:t>𝑖</m:t>
                                      </m:r>
                                    </m:sub>
                                  </m:sSub>
                                </m:sub>
                                <m:sup>
                                  <m:r>
                                    <a:rPr lang="en-US" sz="1600" i="1" dirty="0">
                                      <a:latin typeface="Cambria Math" panose="02040503050406030204" pitchFamily="18" charset="0"/>
                                    </a:rPr>
                                    <m:t>+</m:t>
                                  </m:r>
                                </m:sup>
                              </m:sSubSup>
                              <m:d>
                                <m:dPr>
                                  <m:ctrlPr>
                                    <a:rPr lang="en-US" sz="1600" i="1" dirty="0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en-US" sz="1600" i="1" dirty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sz="1600" i="1" dirty="0">
                                          <a:latin typeface="Cambria Math" panose="02040503050406030204" pitchFamily="18" charset="0"/>
                                        </a:rPr>
                                        <m:t>𝜔</m:t>
                                      </m:r>
                                    </m:e>
                                    <m:sub>
                                      <m:r>
                                        <a:rPr lang="en-US" sz="1600" i="1" dirty="0">
                                          <a:latin typeface="Cambria Math" panose="02040503050406030204" pitchFamily="18" charset="0"/>
                                        </a:rPr>
                                        <m:t>𝑗</m:t>
                                      </m:r>
                                    </m:sub>
                                  </m:sSub>
                                </m:e>
                              </m:d>
                              <m:r>
                                <m:rPr>
                                  <m:sty m:val="p"/>
                                </m:rPr>
                                <a:rPr lang="ru-RU" sz="1600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  <a:cs typeface="SB Sans Display Light" panose="020B0303040504020204" pitchFamily="34" charset="0"/>
                                </a:rPr>
                                <m:t>Δ</m:t>
                              </m:r>
                              <m:sSub>
                                <m:sSubPr>
                                  <m:ctrlPr>
                                    <a:rPr lang="en-US" sz="1600" i="1">
                                      <a:solidFill>
                                        <a:srgbClr val="575757">
                                          <a:lumMod val="50000"/>
                                        </a:srgbClr>
                                      </a:solidFill>
                                      <a:latin typeface="Cambria Math" panose="02040503050406030204" pitchFamily="18" charset="0"/>
                                      <a:cs typeface="SB Sans Display Light" panose="020B0303040504020204" pitchFamily="34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sz="1600" i="1">
                                      <a:solidFill>
                                        <a:srgbClr val="575757">
                                          <a:lumMod val="50000"/>
                                        </a:srgbClr>
                                      </a:solidFill>
                                      <a:latin typeface="Cambria Math" panose="02040503050406030204" pitchFamily="18" charset="0"/>
                                      <a:cs typeface="SB Sans Display Light" panose="020B0303040504020204" pitchFamily="34" charset="0"/>
                                    </a:rPr>
                                    <m:t>𝑡</m:t>
                                  </m:r>
                                </m:e>
                                <m:sub>
                                  <m:r>
                                    <a:rPr lang="en-US" sz="1600" i="1">
                                      <a:solidFill>
                                        <a:srgbClr val="575757">
                                          <a:lumMod val="50000"/>
                                        </a:srgbClr>
                                      </a:solidFill>
                                      <a:latin typeface="Cambria Math" panose="02040503050406030204" pitchFamily="18" charset="0"/>
                                      <a:cs typeface="SB Sans Display Light" panose="020B0303040504020204" pitchFamily="34" charset="0"/>
                                    </a:rPr>
                                    <m:t>𝑖</m:t>
                                  </m:r>
                                </m:sub>
                              </m:sSub>
                              <m:r>
                                <a:rPr lang="en-US" sz="1600" i="1" dirty="0">
                                  <a:latin typeface="Cambria Math" panose="02040503050406030204" pitchFamily="18" charset="0"/>
                                </a:rPr>
                                <m:t>𝑃𝐷</m:t>
                              </m:r>
                              <m:r>
                                <a:rPr lang="en-US" sz="1600" i="1" dirty="0">
                                  <a:latin typeface="Cambria Math" panose="02040503050406030204" pitchFamily="18" charset="0"/>
                                </a:rPr>
                                <m:t>(</m:t>
                              </m:r>
                              <m:sSub>
                                <m:sSubPr>
                                  <m:ctrlPr>
                                    <a:rPr lang="en-US" sz="1600" i="1">
                                      <a:solidFill>
                                        <a:srgbClr val="575757">
                                          <a:lumMod val="50000"/>
                                        </a:srgbClr>
                                      </a:solidFill>
                                      <a:latin typeface="Cambria Math" panose="02040503050406030204" pitchFamily="18" charset="0"/>
                                      <a:cs typeface="SB Sans Display Light" panose="020B0303040504020204" pitchFamily="34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sz="1600" i="1">
                                      <a:solidFill>
                                        <a:srgbClr val="575757">
                                          <a:lumMod val="50000"/>
                                        </a:srgbClr>
                                      </a:solidFill>
                                      <a:latin typeface="Cambria Math" panose="02040503050406030204" pitchFamily="18" charset="0"/>
                                      <a:cs typeface="SB Sans Display Light" panose="020B0303040504020204" pitchFamily="34" charset="0"/>
                                    </a:rPr>
                                    <m:t>𝑡</m:t>
                                  </m:r>
                                </m:e>
                                <m:sub>
                                  <m:r>
                                    <a:rPr lang="en-US" sz="1600" i="1">
                                      <a:solidFill>
                                        <a:srgbClr val="575757">
                                          <a:lumMod val="50000"/>
                                        </a:srgbClr>
                                      </a:solidFill>
                                      <a:latin typeface="Cambria Math" panose="02040503050406030204" pitchFamily="18" charset="0"/>
                                      <a:cs typeface="SB Sans Display Light" panose="020B0303040504020204" pitchFamily="34" charset="0"/>
                                    </a:rPr>
                                    <m:t>𝑖</m:t>
                                  </m:r>
                                  <m:r>
                                    <a:rPr lang="en-US" sz="1600" i="1">
                                      <a:solidFill>
                                        <a:srgbClr val="575757">
                                          <a:lumMod val="50000"/>
                                        </a:srgbClr>
                                      </a:solidFill>
                                      <a:latin typeface="Cambria Math" panose="02040503050406030204" pitchFamily="18" charset="0"/>
                                      <a:cs typeface="SB Sans Display Light" panose="020B0303040504020204" pitchFamily="34" charset="0"/>
                                    </a:rPr>
                                    <m:t>−1</m:t>
                                  </m:r>
                                </m:sub>
                              </m:sSub>
                              <m:r>
                                <m:rPr>
                                  <m:nor/>
                                </m:rPr>
                                <a:rPr lang="en-US" sz="1600" dirty="0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SB Sans Display Light" panose="020B0303040504020204" pitchFamily="34" charset="0"/>
                                  <a:cs typeface="SB Sans Display Light" panose="020B0303040504020204" pitchFamily="34" charset="0"/>
                                </a:rPr>
                                <m:t>,</m:t>
                              </m:r>
                              <m:r>
                                <m:rPr>
                                  <m:nor/>
                                </m:rPr>
                                <a:rPr lang="en-US" sz="1600" dirty="0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cs typeface="SB Sans Display Light" panose="020B0303040504020204" pitchFamily="34" charset="0"/>
                                </a:rPr>
                                <m:t> </m:t>
                              </m:r>
                              <m:sSub>
                                <m:sSubPr>
                                  <m:ctrlPr>
                                    <a:rPr lang="en-US" sz="1600" i="1">
                                      <a:solidFill>
                                        <a:srgbClr val="575757">
                                          <a:lumMod val="50000"/>
                                        </a:srgbClr>
                                      </a:solidFill>
                                      <a:latin typeface="Cambria Math" panose="02040503050406030204" pitchFamily="18" charset="0"/>
                                      <a:cs typeface="SB Sans Display Light" panose="020B0303040504020204" pitchFamily="34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sz="1600" i="1">
                                      <a:solidFill>
                                        <a:srgbClr val="575757">
                                          <a:lumMod val="50000"/>
                                        </a:srgbClr>
                                      </a:solidFill>
                                      <a:latin typeface="Cambria Math" panose="02040503050406030204" pitchFamily="18" charset="0"/>
                                      <a:cs typeface="SB Sans Display Light" panose="020B0303040504020204" pitchFamily="34" charset="0"/>
                                    </a:rPr>
                                    <m:t>𝑡</m:t>
                                  </m:r>
                                </m:e>
                                <m:sub>
                                  <m:r>
                                    <a:rPr lang="en-US" sz="1600" i="1">
                                      <a:solidFill>
                                        <a:srgbClr val="575757">
                                          <a:lumMod val="50000"/>
                                        </a:srgbClr>
                                      </a:solidFill>
                                      <a:latin typeface="Cambria Math" panose="02040503050406030204" pitchFamily="18" charset="0"/>
                                      <a:cs typeface="SB Sans Display Light" panose="020B0303040504020204" pitchFamily="34" charset="0"/>
                                    </a:rPr>
                                    <m:t>𝑖</m:t>
                                  </m:r>
                                </m:sub>
                              </m:sSub>
                              <m:r>
                                <a:rPr lang="en-US" sz="1600" b="0" i="1" smtClean="0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  <a:cs typeface="SB Sans Display Light" panose="020B0303040504020204" pitchFamily="34" charset="0"/>
                                </a:rPr>
                                <m:t>)</m:t>
                              </m:r>
                            </m:e>
                          </m:nary>
                        </m:e>
                      </m:nary>
                    </m:oMath>
                  </m:oMathPara>
                </a14:m>
                <a:endParaRPr lang="ru-RU" sz="1600" dirty="0">
                  <a:solidFill>
                    <a:srgbClr val="575757">
                      <a:lumMod val="50000"/>
                    </a:srgbClr>
                  </a:solidFill>
                  <a:latin typeface="SB Sans Display Light" panose="020B0303040504020204" pitchFamily="34" charset="0"/>
                  <a:cs typeface="SB Sans Display Light" panose="020B0303040504020204" pitchFamily="34" charset="0"/>
                </a:endParaRPr>
              </a:p>
            </p:txBody>
          </p:sp>
        </mc:Choice>
        <mc:Fallback>
          <p:sp>
            <p:nvSpPr>
              <p:cNvPr id="8" name="Прямоугольник 7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967470" y="3048739"/>
                <a:ext cx="5270998" cy="1225464"/>
              </a:xfrm>
              <a:prstGeom prst="rect">
                <a:avLst/>
              </a:prstGeom>
              <a:blipFill>
                <a:blip r:embed="rId3"/>
                <a:stretch>
                  <a:fillRect t="-42268" b="-83505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" name="Стрелка вправо 8"/>
          <p:cNvSpPr/>
          <p:nvPr/>
        </p:nvSpPr>
        <p:spPr>
          <a:xfrm rot="20567352">
            <a:off x="4497559" y="3326936"/>
            <a:ext cx="454041" cy="273485"/>
          </a:xfrm>
          <a:prstGeom prst="rightArrow">
            <a:avLst/>
          </a:prstGeom>
          <a:solidFill>
            <a:srgbClr val="E6E5E7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10" name="Стрелка вправо 9"/>
          <p:cNvSpPr/>
          <p:nvPr/>
        </p:nvSpPr>
        <p:spPr>
          <a:xfrm rot="1967355">
            <a:off x="6632014" y="3319123"/>
            <a:ext cx="454041" cy="273485"/>
          </a:xfrm>
          <a:prstGeom prst="rightArrow">
            <a:avLst/>
          </a:prstGeom>
          <a:solidFill>
            <a:srgbClr val="E6E5E7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>
              <a:solidFill>
                <a:schemeClr val="bg2">
                  <a:lumMod val="50000"/>
                </a:schemeClr>
              </a:solidFill>
            </a:endParaRP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3" name="TextBox 2">
                <a:extLst>
                  <a:ext uri="{FF2B5EF4-FFF2-40B4-BE49-F238E27FC236}">
                    <a16:creationId xmlns:a16="http://schemas.microsoft.com/office/drawing/2014/main" id="{2DDADA22-0A42-214B-91FA-474FED156E3E}"/>
                  </a:ext>
                </a:extLst>
              </p:cNvPr>
              <p:cNvSpPr txBox="1"/>
              <p:nvPr/>
            </p:nvSpPr>
            <p:spPr>
              <a:xfrm>
                <a:off x="2266682" y="4343093"/>
                <a:ext cx="3149346" cy="108581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ru-RU" sz="1400" dirty="0">
                    <a:solidFill>
                      <a:schemeClr val="tx2"/>
                    </a:solidFill>
                  </a:rPr>
                  <a:t>Делаем  небольшое количество симуляций</a:t>
                </a:r>
                <a:r>
                  <a:rPr lang="en-US" sz="1400" dirty="0">
                    <a:solidFill>
                      <a:schemeClr val="tx2"/>
                    </a:solidFill>
                  </a:rPr>
                  <a:t>, </a:t>
                </a:r>
                <a:r>
                  <a:rPr lang="ru-RU" sz="1400" dirty="0">
                    <a:solidFill>
                      <a:schemeClr val="tx2"/>
                    </a:solidFill>
                  </a:rPr>
                  <a:t>чтобы оценить </a:t>
                </a:r>
                <a:r>
                  <a:rPr lang="ru-RU" sz="1400" dirty="0" err="1">
                    <a:solidFill>
                      <a:schemeClr val="tx2"/>
                    </a:solidFill>
                  </a:rPr>
                  <a:t>коеффициенты</a:t>
                </a:r>
                <a:r>
                  <a:rPr lang="ru-RU" sz="1400" dirty="0">
                    <a:solidFill>
                      <a:schemeClr val="tx2"/>
                    </a:solidFill>
                  </a:rPr>
                  <a:t> </a:t>
                </a:r>
                <a:r>
                  <a:rPr lang="ru-RU" sz="1400" dirty="0" err="1">
                    <a:solidFill>
                      <a:schemeClr val="tx2"/>
                    </a:solidFill>
                  </a:rPr>
                  <a:t>регресии</a:t>
                </a:r>
                <a:r>
                  <a:rPr lang="en-US" sz="1400" dirty="0">
                    <a:solidFill>
                      <a:schemeClr val="tx2"/>
                    </a:solidFill>
                  </a:rPr>
                  <a:t>; </a:t>
                </a:r>
                <a:r>
                  <a:rPr lang="ru-RU" sz="1400" dirty="0">
                    <a:solidFill>
                      <a:schemeClr val="tx2"/>
                    </a:solidFill>
                  </a:rPr>
                  <a:t>после этого условное </a:t>
                </a:r>
                <a:r>
                  <a:rPr lang="ru-RU" sz="1400" dirty="0" err="1">
                    <a:solidFill>
                      <a:schemeClr val="tx2"/>
                    </a:solidFill>
                  </a:rPr>
                  <a:t>матожидание</a:t>
                </a:r>
                <a:r>
                  <a:rPr lang="ru-RU" sz="1400" dirty="0">
                    <a:solidFill>
                      <a:schemeClr val="tx2"/>
                    </a:solidFill>
                  </a:rPr>
                  <a:t> приближаем как</a:t>
                </a:r>
                <a:r>
                  <a:rPr lang="en-US" sz="1400" dirty="0">
                    <a:solidFill>
                      <a:schemeClr val="tx2"/>
                    </a:solidFill>
                  </a:rPr>
                  <a:t> </a:t>
                </a:r>
                <a14:m>
                  <m:oMath xmlns:m="http://schemas.openxmlformats.org/officeDocument/2006/math">
                    <m:r>
                      <a:rPr lang="en-US" sz="1400" b="0" i="1" smtClean="0">
                        <a:latin typeface="Cambria Math" panose="02040503050406030204" pitchFamily="18" charset="0"/>
                      </a:rPr>
                      <m:t>𝐸</m:t>
                    </m:r>
                    <m:d>
                      <m:dPr>
                        <m:begChr m:val="["/>
                        <m:endChr m:val="]"/>
                        <m:ctrlPr>
                          <a:rPr lang="en-US" sz="1400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𝑉</m:t>
                        </m:r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(</m:t>
                        </m:r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+</m:t>
                        </m:r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,</m:t>
                        </m:r>
                        <m:sSub>
                          <m:sSubPr>
                            <m:ctrlPr>
                              <a:rPr lang="en-US" sz="1400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1400" b="0" i="1" smtClean="0">
                                <a:latin typeface="Cambria Math" panose="02040503050406030204" pitchFamily="18" charset="0"/>
                              </a:rPr>
                              <m:t>𝑆</m:t>
                            </m:r>
                          </m:e>
                          <m:sub>
                            <m:r>
                              <a:rPr lang="en-US" sz="1400" b="0" i="1" smtClean="0">
                                <a:latin typeface="Cambria Math" panose="02040503050406030204" pitchFamily="18" charset="0"/>
                              </a:rPr>
                              <m:t>𝑖</m:t>
                            </m:r>
                            <m:r>
                              <a:rPr lang="en-US" sz="1400" b="0" i="1" smtClean="0">
                                <a:latin typeface="Cambria Math" panose="02040503050406030204" pitchFamily="18" charset="0"/>
                              </a:rPr>
                              <m:t>+1</m:t>
                            </m:r>
                          </m:sub>
                        </m:sSub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)|</m:t>
                        </m:r>
                        <m:sSub>
                          <m:sSubPr>
                            <m:ctrlPr>
                              <a:rPr lang="en-US" sz="1400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1400" b="0" i="1" smtClean="0">
                                <a:latin typeface="Cambria Math" panose="02040503050406030204" pitchFamily="18" charset="0"/>
                              </a:rPr>
                              <m:t>𝑆</m:t>
                            </m:r>
                          </m:e>
                          <m:sub>
                            <m:r>
                              <a:rPr lang="en-US" sz="1400" b="0" i="1" smtClean="0">
                                <a:latin typeface="Cambria Math" panose="02040503050406030204" pitchFamily="18" charset="0"/>
                              </a:rPr>
                              <m:t>𝑖</m:t>
                            </m:r>
                          </m:sub>
                        </m:sSub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=</m:t>
                        </m:r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𝑆</m:t>
                        </m:r>
                      </m:e>
                    </m:d>
                    <m:r>
                      <a:rPr lang="en-US" sz="14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≈</m:t>
                    </m:r>
                    <m:nary>
                      <m:naryPr>
                        <m:chr m:val="∑"/>
                        <m:limLoc m:val="subSup"/>
                        <m:ctrlPr>
                          <a:rPr lang="en-US" sz="14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brk m:alnAt="25"/>
                          </m:rPr>
                          <a:rPr lang="en-US" sz="14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𝑘</m:t>
                        </m:r>
                        <m:r>
                          <a:rPr lang="en-US" sz="14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=1</m:t>
                        </m:r>
                      </m:sub>
                      <m:sup>
                        <m:r>
                          <a:rPr lang="en-US" sz="14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𝑀</m:t>
                        </m:r>
                      </m:sup>
                      <m:e>
                        <m:sSub>
                          <m:sSubPr>
                            <m:ctrlPr>
                              <a:rPr lang="en-US" sz="14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14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𝛽</m:t>
                            </m:r>
                          </m:e>
                          <m:sub>
                            <m:r>
                              <a:rPr lang="en-US" sz="14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𝑖𝑘</m:t>
                            </m:r>
                          </m:sub>
                        </m:sSub>
                        <m:sSub>
                          <m:sSubPr>
                            <m:ctrlPr>
                              <a:rPr lang="en-US" sz="14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14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𝜓</m:t>
                            </m:r>
                          </m:e>
                          <m:sub>
                            <m:r>
                              <a:rPr lang="en-US" sz="14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𝑘</m:t>
                            </m:r>
                          </m:sub>
                        </m:sSub>
                        <m:d>
                          <m:dPr>
                            <m:ctrlPr>
                              <a:rPr lang="en-US" sz="14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US" sz="14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𝑥</m:t>
                            </m:r>
                          </m:e>
                        </m:d>
                      </m:e>
                    </m:nary>
                  </m:oMath>
                </a14:m>
                <a:endParaRPr lang="ru-RU" sz="1400" dirty="0">
                  <a:solidFill>
                    <a:schemeClr val="tx2"/>
                  </a:solidFill>
                </a:endParaRPr>
              </a:p>
            </p:txBody>
          </p:sp>
        </mc:Choice>
        <mc:Fallback>
          <p:sp>
            <p:nvSpPr>
              <p:cNvPr id="3" name="TextBox 2">
                <a:extLst>
                  <a:ext uri="{FF2B5EF4-FFF2-40B4-BE49-F238E27FC236}">
                    <a16:creationId xmlns:a16="http://schemas.microsoft.com/office/drawing/2014/main" id="{2DDADA22-0A42-214B-91FA-474FED156E3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266682" y="4343093"/>
                <a:ext cx="3149346" cy="1085810"/>
              </a:xfrm>
              <a:prstGeom prst="rect">
                <a:avLst/>
              </a:prstGeom>
              <a:blipFill>
                <a:blip r:embed="rId4"/>
                <a:stretch>
                  <a:fillRect l="-3614" t="-4598" r="-2008" b="-50575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2A4B30C7-79EE-2E44-AD70-BB081D457B1B}"/>
                  </a:ext>
                </a:extLst>
              </p:cNvPr>
              <p:cNvSpPr txBox="1"/>
              <p:nvPr/>
            </p:nvSpPr>
            <p:spPr>
              <a:xfrm>
                <a:off x="664487" y="1909958"/>
                <a:ext cx="10863026" cy="46865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 xmlns:m="http://schemas.openxmlformats.org/officeDocument/2006/math">
                    <m:r>
                      <a:rPr lang="en-US" sz="1800" b="0" i="1" smtClean="0">
                        <a:solidFill>
                          <a:srgbClr val="575757">
                            <a:lumMod val="50000"/>
                          </a:srgbClr>
                        </a:solidFill>
                        <a:latin typeface="Cambria Math" panose="02040503050406030204" pitchFamily="18" charset="0"/>
                        <a:cs typeface="SB Sans Display Light" panose="020B0303040504020204" pitchFamily="34" charset="0"/>
                      </a:rPr>
                      <m:t>𝐶𝑉𝐴</m:t>
                    </m:r>
                    <m:r>
                      <a:rPr lang="en-US" sz="1800" b="0" i="1" smtClean="0">
                        <a:solidFill>
                          <a:srgbClr val="575757">
                            <a:lumMod val="50000"/>
                          </a:srgbClr>
                        </a:solidFill>
                        <a:latin typeface="Cambria Math" panose="02040503050406030204" pitchFamily="18" charset="0"/>
                        <a:cs typeface="SB Sans Display Light" panose="020B0303040504020204" pitchFamily="34" charset="0"/>
                      </a:rPr>
                      <m:t>=</m:t>
                    </m:r>
                    <m:sSup>
                      <m:sSupPr>
                        <m:ctrlPr>
                          <a:rPr lang="en-US" sz="1800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sz="1800" b="0" i="1" smtClean="0">
                            <a:latin typeface="Cambria Math" panose="02040503050406030204" pitchFamily="18" charset="0"/>
                          </a:rPr>
                          <m:t>−</m:t>
                        </m:r>
                        <m:r>
                          <m:rPr>
                            <m:sty m:val="p"/>
                          </m:rPr>
                          <a:rPr lang="en-US" sz="1800">
                            <a:latin typeface="Cambria Math" panose="02040503050406030204" pitchFamily="18" charset="0"/>
                          </a:rPr>
                          <m:t>E</m:t>
                        </m:r>
                      </m:e>
                      <m:sup>
                        <m:r>
                          <a:rPr lang="en-US" sz="1800" i="1">
                            <a:latin typeface="Cambria Math" panose="02040503050406030204" pitchFamily="18" charset="0"/>
                          </a:rPr>
                          <m:t>𝑄</m:t>
                        </m:r>
                      </m:sup>
                    </m:sSup>
                    <m:nary>
                      <m:naryPr>
                        <m:limLoc m:val="undOvr"/>
                        <m:ctrlPr>
                          <a:rPr lang="en-US" sz="1800" i="1" smtClean="0"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brk m:alnAt="24"/>
                          </m:rPr>
                          <a:rPr lang="en-US" sz="1800" b="0" i="1" smtClean="0">
                            <a:latin typeface="Cambria Math" panose="02040503050406030204" pitchFamily="18" charset="0"/>
                          </a:rPr>
                          <m:t>𝑡</m:t>
                        </m:r>
                        <m:r>
                          <a:rPr lang="en-US" sz="1800" b="0" i="1" smtClean="0">
                            <a:latin typeface="Cambria Math" panose="02040503050406030204" pitchFamily="18" charset="0"/>
                          </a:rPr>
                          <m:t>=0</m:t>
                        </m:r>
                      </m:sub>
                      <m:sup>
                        <m:r>
                          <a:rPr lang="en-US" sz="1800" b="0" i="1" smtClean="0">
                            <a:latin typeface="Cambria Math" panose="02040503050406030204" pitchFamily="18" charset="0"/>
                          </a:rPr>
                          <m:t>𝑇</m:t>
                        </m:r>
                      </m:sup>
                      <m:e>
                        <m:d>
                          <m:dPr>
                            <m:begChr m:val="["/>
                            <m:endChr m:val="]"/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𝐷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(0,</m:t>
                            </m:r>
                            <m:r>
                              <m:rPr>
                                <m:sty m:val="p"/>
                              </m:rPr>
                              <a:rPr lang="en-US" b="0" i="0" smtClean="0">
                                <a:latin typeface="Cambria Math" panose="02040503050406030204" pitchFamily="18" charset="0"/>
                              </a:rPr>
                              <m:t>t</m:t>
                            </m:r>
                            <m:r>
                              <a:rPr lang="en-US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)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∙</m:t>
                            </m:r>
                            <m:r>
                              <m:rPr>
                                <m:sty m:val="p"/>
                              </m:rPr>
                              <a:rPr lang="en-US">
                                <a:latin typeface="Cambria Math" panose="02040503050406030204" pitchFamily="18" charset="0"/>
                              </a:rPr>
                              <m:t>LGD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∙</m:t>
                            </m:r>
                            <m:func>
                              <m:funcPr>
                                <m:ctrlPr>
                                  <a:rPr lang="en-US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</m:ctrlPr>
                              </m:funcPr>
                              <m:fName>
                                <m:r>
                                  <m:rPr>
                                    <m:sty m:val="p"/>
                                  </m:rPr>
                                  <a:rPr lang="en-US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max</m:t>
                                </m:r>
                              </m:fName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(</m:t>
                                </m:r>
                                <m:r>
                                  <m:rPr>
                                    <m:sty m:val="p"/>
                                  </m:rPr>
                                  <a:rPr lang="en-US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Risk</m:t>
                                </m:r>
                                <m:r>
                                  <m:rPr>
                                    <m:nor/>
                                  </m:rPr>
                                  <a:rPr lang="en-US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Free</m:t>
                                </m:r>
                                <m:r>
                                  <m:rPr>
                                    <m:sty m:val="p"/>
                                  </m:rPr>
                                  <a:rPr lang="en-US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Price</m:t>
                                </m:r>
                                <m:d>
                                  <m:dPr>
                                    <m:ctrlPr>
                                      <a:rPr lang="en-US" i="1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𝜏</m:t>
                                    </m:r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,</m:t>
                                    </m:r>
                                    <m:r>
                                      <a:rPr lang="en-US" i="1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𝑇</m:t>
                                    </m:r>
                                  </m:e>
                                </m:d>
                                <m:r>
                                  <a:rPr lang="en-US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,0)</m:t>
                                </m:r>
                              </m:e>
                            </m:func>
                          </m:e>
                        </m:d>
                        <m:r>
                          <m:rPr>
                            <m:nor/>
                          </m:rPr>
                          <a:rPr lang="en-US" dirty="0"/>
                          <m:t>dPD</m:t>
                        </m:r>
                        <m:r>
                          <m:rPr>
                            <m:nor/>
                          </m:rPr>
                          <a:rPr lang="en-US" dirty="0"/>
                          <m:t>(0,</m:t>
                        </m:r>
                        <m:r>
                          <m:rPr>
                            <m:nor/>
                          </m:rPr>
                          <a:rPr lang="en-US" dirty="0"/>
                          <m:t>t</m:t>
                        </m:r>
                        <m:r>
                          <m:rPr>
                            <m:nor/>
                          </m:rPr>
                          <a:rPr lang="en-US" dirty="0"/>
                          <m:t>)</m:t>
                        </m:r>
                      </m:e>
                    </m:nary>
                  </m:oMath>
                </a14:m>
                <a:r>
                  <a:rPr lang="ru-RU" dirty="0"/>
                  <a:t>=</a:t>
                </a:r>
                <a:r>
                  <a:rPr lang="en-US" dirty="0">
                    <a:solidFill>
                      <a:srgbClr val="575757">
                        <a:lumMod val="50000"/>
                      </a:srgbClr>
                    </a:solidFill>
                    <a:cs typeface="SB Sans Display Light" panose="020B0303040504020204" pitchFamily="34" charset="0"/>
                  </a:rPr>
                  <a:t>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i="1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Cambria Math" panose="02040503050406030204" pitchFamily="18" charset="0"/>
                            <a:cs typeface="SB Sans Display Light" panose="020B0303040504020204" pitchFamily="34" charset="0"/>
                          </a:rPr>
                        </m:ctrlPr>
                      </m:sSupPr>
                      <m:e>
                        <m:r>
                          <a:rPr lang="en-US" b="0" i="1" smtClean="0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Cambria Math" panose="02040503050406030204" pitchFamily="18" charset="0"/>
                            <a:cs typeface="SB Sans Display Light" panose="020B0303040504020204" pitchFamily="34" charset="0"/>
                          </a:rPr>
                          <m:t>−</m:t>
                        </m:r>
                        <m:d>
                          <m:dPr>
                            <m:ctrlPr>
                              <a:rPr lang="en-US" b="0" i="1" smtClean="0">
                                <a:solidFill>
                                  <a:srgbClr val="575757">
                                    <a:lumMod val="50000"/>
                                  </a:srgbClr>
                                </a:solidFill>
                                <a:latin typeface="Cambria Math" panose="02040503050406030204" pitchFamily="18" charset="0"/>
                                <a:cs typeface="SB Sans Display Light" panose="020B0303040504020204" pitchFamily="34" charset="0"/>
                              </a:rPr>
                            </m:ctrlPr>
                          </m:dPr>
                          <m:e>
                            <m:r>
                              <a:rPr lang="en-US" b="0" i="1" smtClean="0">
                                <a:solidFill>
                                  <a:srgbClr val="575757">
                                    <a:lumMod val="50000"/>
                                  </a:srgbClr>
                                </a:solidFill>
                                <a:latin typeface="Cambria Math" panose="02040503050406030204" pitchFamily="18" charset="0"/>
                                <a:cs typeface="SB Sans Display Light" panose="020B0303040504020204" pitchFamily="34" charset="0"/>
                              </a:rPr>
                              <m:t>1−</m:t>
                            </m:r>
                            <m:r>
                              <a:rPr lang="en-US" b="0" i="1" smtClean="0">
                                <a:solidFill>
                                  <a:srgbClr val="575757">
                                    <a:lumMod val="50000"/>
                                  </a:srgbClr>
                                </a:solidFill>
                                <a:latin typeface="Cambria Math" panose="02040503050406030204" pitchFamily="18" charset="0"/>
                                <a:cs typeface="SB Sans Display Light" panose="020B0303040504020204" pitchFamily="34" charset="0"/>
                              </a:rPr>
                              <m:t>𝑅𝑅</m:t>
                            </m:r>
                          </m:e>
                        </m:d>
                        <m:r>
                          <a:rPr lang="en-US" b="0" i="1" smtClean="0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Cambria Math" panose="02040503050406030204" pitchFamily="18" charset="0"/>
                            <a:cs typeface="SB Sans Display Light" panose="020B0303040504020204" pitchFamily="34" charset="0"/>
                          </a:rPr>
                          <m:t>∗</m:t>
                        </m:r>
                        <m:r>
                          <a:rPr lang="en-US" i="1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Cambria Math" panose="02040503050406030204" pitchFamily="18" charset="0"/>
                            <a:cs typeface="SB Sans Display Light" panose="020B0303040504020204" pitchFamily="34" charset="0"/>
                          </a:rPr>
                          <m:t>𝐸</m:t>
                        </m:r>
                      </m:e>
                      <m:sup>
                        <m:r>
                          <a:rPr lang="en-US" i="1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Cambria Math" panose="02040503050406030204" pitchFamily="18" charset="0"/>
                            <a:cs typeface="SB Sans Display Light" panose="020B0303040504020204" pitchFamily="34" charset="0"/>
                          </a:rPr>
                          <m:t>𝑄</m:t>
                        </m:r>
                      </m:sup>
                    </m:sSup>
                    <m:nary>
                      <m:naryPr>
                        <m:ctrlPr>
                          <a:rPr lang="en-US" i="1" smtClean="0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brk m:alnAt="23"/>
                          </m:rPr>
                          <a:rPr lang="en-US" b="0" i="1" smtClean="0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Cambria Math" panose="02040503050406030204" pitchFamily="18" charset="0"/>
                          </a:rPr>
                          <m:t>𝑡</m:t>
                        </m:r>
                        <m:r>
                          <a:rPr lang="en-US" b="0" i="1" smtClean="0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Cambria Math" panose="02040503050406030204" pitchFamily="18" charset="0"/>
                          </a:rPr>
                          <m:t>=0</m:t>
                        </m:r>
                      </m:sub>
                      <m:sup>
                        <m:r>
                          <a:rPr lang="en-US" b="0" i="1" smtClean="0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Cambria Math" panose="02040503050406030204" pitchFamily="18" charset="0"/>
                          </a:rPr>
                          <m:t>𝑇</m:t>
                        </m:r>
                      </m:sup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𝐷</m:t>
                        </m:r>
                        <m:r>
                          <a:rPr lang="en-US" i="1">
                            <a:latin typeface="Cambria Math" panose="02040503050406030204" pitchFamily="18" charset="0"/>
                          </a:rPr>
                          <m:t>(0,</m:t>
                        </m:r>
                        <m:r>
                          <m:rPr>
                            <m:sty m:val="p"/>
                          </m:rPr>
                          <a:rPr lang="en-US">
                            <a:latin typeface="Cambria Math" panose="02040503050406030204" pitchFamily="18" charset="0"/>
                          </a:rPr>
                          <m:t>t</m:t>
                        </m:r>
                        <m:r>
                          <a:rPr lang="en-US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)</m:t>
                        </m:r>
                        <m:sSubSup>
                          <m:sSubSupPr>
                            <m:ctrlPr>
                              <a:rPr lang="en-US" i="1">
                                <a:solidFill>
                                  <a:srgbClr val="575757">
                                    <a:lumMod val="50000"/>
                                  </a:srgbClr>
                                </a:solidFill>
                                <a:latin typeface="Cambria Math" panose="02040503050406030204" pitchFamily="18" charset="0"/>
                                <a:cs typeface="SB Sans Display Light" panose="020B0303040504020204" pitchFamily="34" charset="0"/>
                              </a:rPr>
                            </m:ctrlPr>
                          </m:sSubSupPr>
                          <m:e>
                            <m:r>
                              <a:rPr lang="en-US" i="1">
                                <a:solidFill>
                                  <a:srgbClr val="575757">
                                    <a:lumMod val="50000"/>
                                  </a:srgbClr>
                                </a:solidFill>
                                <a:latin typeface="Cambria Math" panose="02040503050406030204" pitchFamily="18" charset="0"/>
                                <a:cs typeface="SB Sans Display Light" panose="020B0303040504020204" pitchFamily="34" charset="0"/>
                              </a:rPr>
                              <m:t>𝑉</m:t>
                            </m:r>
                          </m:e>
                          <m:sub>
                            <m:r>
                              <a:rPr lang="en-US" i="1">
                                <a:solidFill>
                                  <a:srgbClr val="575757">
                                    <a:lumMod val="50000"/>
                                  </a:srgbClr>
                                </a:solidFill>
                                <a:latin typeface="Cambria Math" panose="02040503050406030204" pitchFamily="18" charset="0"/>
                                <a:cs typeface="SB Sans Display Light" panose="020B0303040504020204" pitchFamily="34" charset="0"/>
                              </a:rPr>
                              <m:t>𝑡</m:t>
                            </m:r>
                          </m:sub>
                          <m:sup>
                            <m:r>
                              <a:rPr lang="en-US" i="1">
                                <a:solidFill>
                                  <a:srgbClr val="575757">
                                    <a:lumMod val="50000"/>
                                  </a:srgbClr>
                                </a:solidFill>
                                <a:latin typeface="Cambria Math" panose="02040503050406030204" pitchFamily="18" charset="0"/>
                                <a:cs typeface="SB Sans Display Light" panose="020B0303040504020204" pitchFamily="34" charset="0"/>
                              </a:rPr>
                              <m:t>+</m:t>
                            </m:r>
                          </m:sup>
                        </m:sSubSup>
                        <m:r>
                          <a:rPr lang="en-US" i="1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Cambria Math" panose="02040503050406030204" pitchFamily="18" charset="0"/>
                            <a:cs typeface="SB Sans Display Light" panose="020B0303040504020204" pitchFamily="34" charset="0"/>
                          </a:rPr>
                          <m:t> </m:t>
                        </m:r>
                        <m:r>
                          <a:rPr lang="en-US" i="1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Cambria Math" panose="02040503050406030204" pitchFamily="18" charset="0"/>
                            <a:cs typeface="SB Sans Display Light" panose="020B0303040504020204" pitchFamily="34" charset="0"/>
                          </a:rPr>
                          <m:t>𝑑</m:t>
                        </m:r>
                        <m:sSub>
                          <m:sSubPr>
                            <m:ctrlPr>
                              <a:rPr lang="ru-RU" i="1">
                                <a:solidFill>
                                  <a:srgbClr val="575757">
                                    <a:lumMod val="50000"/>
                                  </a:srgbClr>
                                </a:solidFill>
                                <a:latin typeface="Cambria Math" panose="02040503050406030204" pitchFamily="18" charset="0"/>
                                <a:cs typeface="SB Sans Display Light" panose="020B0303040504020204" pitchFamily="34" charset="0"/>
                              </a:rPr>
                            </m:ctrlPr>
                          </m:sSubPr>
                          <m:e>
                            <m:r>
                              <a:rPr lang="en-US" i="1">
                                <a:solidFill>
                                  <a:srgbClr val="575757">
                                    <a:lumMod val="50000"/>
                                  </a:srgbClr>
                                </a:solidFill>
                                <a:latin typeface="Cambria Math" panose="02040503050406030204" pitchFamily="18" charset="0"/>
                                <a:cs typeface="SB Sans Display Light" panose="020B0303040504020204" pitchFamily="34" charset="0"/>
                              </a:rPr>
                              <m:t>𝑃𝐷</m:t>
                            </m:r>
                          </m:e>
                          <m:sub>
                            <m:r>
                              <a:rPr lang="en-US" i="1">
                                <a:solidFill>
                                  <a:srgbClr val="575757">
                                    <a:lumMod val="50000"/>
                                  </a:srgbClr>
                                </a:solidFill>
                                <a:latin typeface="Cambria Math" panose="02040503050406030204" pitchFamily="18" charset="0"/>
                                <a:cs typeface="SB Sans Display Light" panose="020B0303040504020204" pitchFamily="34" charset="0"/>
                              </a:rPr>
                              <m:t>𝑡</m:t>
                            </m:r>
                          </m:sub>
                        </m:sSub>
                      </m:e>
                    </m:nary>
                  </m:oMath>
                </a14:m>
                <a:endParaRPr lang="ru-RU" dirty="0"/>
              </a:p>
            </p:txBody>
          </p:sp>
        </mc:Choice>
        <mc:Fallback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2A4B30C7-79EE-2E44-AD70-BB081D457B1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64487" y="1909958"/>
                <a:ext cx="10863026" cy="468654"/>
              </a:xfrm>
              <a:prstGeom prst="rect">
                <a:avLst/>
              </a:prstGeom>
              <a:blipFill>
                <a:blip r:embed="rId5"/>
                <a:stretch>
                  <a:fillRect t="-97368" b="-157895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4" name="TextBox 5">
            <a:extLst>
              <a:ext uri="{FF2B5EF4-FFF2-40B4-BE49-F238E27FC236}">
                <a16:creationId xmlns:a16="http://schemas.microsoft.com/office/drawing/2014/main" id="{193A4CE6-1872-9542-A555-8F9D14BA0257}"/>
              </a:ext>
            </a:extLst>
          </p:cNvPr>
          <p:cNvSpPr txBox="1"/>
          <p:nvPr/>
        </p:nvSpPr>
        <p:spPr>
          <a:xfrm>
            <a:off x="1972602" y="2395490"/>
            <a:ext cx="179179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 err="1">
                <a:solidFill>
                  <a:srgbClr val="0070C0"/>
                </a:solidFill>
              </a:rPr>
              <a:t>DiscountFactor</a:t>
            </a:r>
            <a:endParaRPr lang="ru-RU" sz="1400" dirty="0">
              <a:solidFill>
                <a:srgbClr val="0070C0"/>
              </a:solidFill>
            </a:endParaRPr>
          </a:p>
        </p:txBody>
      </p:sp>
      <p:sp>
        <p:nvSpPr>
          <p:cNvPr id="15" name="Right Brace 6">
            <a:extLst>
              <a:ext uri="{FF2B5EF4-FFF2-40B4-BE49-F238E27FC236}">
                <a16:creationId xmlns:a16="http://schemas.microsoft.com/office/drawing/2014/main" id="{626263B0-4C94-7C4D-A42B-F8452C943BE5}"/>
              </a:ext>
            </a:extLst>
          </p:cNvPr>
          <p:cNvSpPr/>
          <p:nvPr/>
        </p:nvSpPr>
        <p:spPr>
          <a:xfrm rot="5400000" flipV="1">
            <a:off x="2722351" y="2005062"/>
            <a:ext cx="106048" cy="763813"/>
          </a:xfrm>
          <a:prstGeom prst="rightBrace">
            <a:avLst/>
          </a:prstGeom>
          <a:ln w="1270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240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A63D819-A012-354F-9899-EB1FAB91B293}"/>
              </a:ext>
            </a:extLst>
          </p:cNvPr>
          <p:cNvSpPr txBox="1"/>
          <p:nvPr/>
        </p:nvSpPr>
        <p:spPr>
          <a:xfrm>
            <a:off x="2456520" y="1434118"/>
            <a:ext cx="20461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loss-given default</a:t>
            </a:r>
            <a:endParaRPr lang="ru-RU" dirty="0">
              <a:solidFill>
                <a:srgbClr val="0070C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" name="Right Brace 6">
            <a:extLst>
              <a:ext uri="{FF2B5EF4-FFF2-40B4-BE49-F238E27FC236}">
                <a16:creationId xmlns:a16="http://schemas.microsoft.com/office/drawing/2014/main" id="{D4E3D700-38B9-8C4A-92F1-30BFC8D8A04F}"/>
              </a:ext>
            </a:extLst>
          </p:cNvPr>
          <p:cNvSpPr/>
          <p:nvPr/>
        </p:nvSpPr>
        <p:spPr>
          <a:xfrm rot="16200000">
            <a:off x="3359337" y="1651590"/>
            <a:ext cx="165940" cy="570049"/>
          </a:xfrm>
          <a:prstGeom prst="rightBrace">
            <a:avLst/>
          </a:prstGeom>
          <a:ln w="1270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2400"/>
          </a:p>
        </p:txBody>
      </p:sp>
      <p:sp>
        <p:nvSpPr>
          <p:cNvPr id="20" name="Right Brace 6">
            <a:extLst>
              <a:ext uri="{FF2B5EF4-FFF2-40B4-BE49-F238E27FC236}">
                <a16:creationId xmlns:a16="http://schemas.microsoft.com/office/drawing/2014/main" id="{F4040933-1112-464B-A616-72FBAE5B5277}"/>
              </a:ext>
            </a:extLst>
          </p:cNvPr>
          <p:cNvSpPr/>
          <p:nvPr/>
        </p:nvSpPr>
        <p:spPr>
          <a:xfrm rot="5400000">
            <a:off x="5120262" y="1079064"/>
            <a:ext cx="156927" cy="2668598"/>
          </a:xfrm>
          <a:prstGeom prst="rightBrace">
            <a:avLst/>
          </a:prstGeom>
          <a:ln w="1270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2400"/>
          </a:p>
        </p:txBody>
      </p:sp>
      <p:sp>
        <p:nvSpPr>
          <p:cNvPr id="21" name="TextBox 5">
            <a:extLst>
              <a:ext uri="{FF2B5EF4-FFF2-40B4-BE49-F238E27FC236}">
                <a16:creationId xmlns:a16="http://schemas.microsoft.com/office/drawing/2014/main" id="{F0AA2D39-35A2-7E48-8A1C-9F74B679D7E0}"/>
              </a:ext>
            </a:extLst>
          </p:cNvPr>
          <p:cNvSpPr txBox="1"/>
          <p:nvPr/>
        </p:nvSpPr>
        <p:spPr>
          <a:xfrm>
            <a:off x="3995498" y="2482137"/>
            <a:ext cx="274169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rgbClr val="0070C0"/>
                </a:solidFill>
              </a:rPr>
              <a:t>Discounted Positive Exposure</a:t>
            </a:r>
            <a:endParaRPr lang="ru-RU" sz="1400" dirty="0">
              <a:solidFill>
                <a:srgbClr val="0070C0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376909BB-EC70-2248-A338-249D006CE571}"/>
              </a:ext>
            </a:extLst>
          </p:cNvPr>
          <p:cNvSpPr txBox="1"/>
          <p:nvPr/>
        </p:nvSpPr>
        <p:spPr>
          <a:xfrm>
            <a:off x="6496475" y="4336341"/>
            <a:ext cx="1538470" cy="150810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400" dirty="0">
                <a:solidFill>
                  <a:schemeClr val="tx2"/>
                </a:solidFill>
              </a:rPr>
              <a:t>Делаем </a:t>
            </a:r>
            <a:r>
              <a:rPr lang="en-US" sz="1400" dirty="0">
                <a:solidFill>
                  <a:schemeClr val="tx2"/>
                </a:solidFill>
              </a:rPr>
              <a:t> </a:t>
            </a:r>
            <a:r>
              <a:rPr lang="ru-RU" sz="1400" dirty="0">
                <a:solidFill>
                  <a:schemeClr val="tx2"/>
                </a:solidFill>
              </a:rPr>
              <a:t>много</a:t>
            </a:r>
            <a:r>
              <a:rPr lang="en-US" sz="1400" dirty="0">
                <a:solidFill>
                  <a:schemeClr val="tx2"/>
                </a:solidFill>
              </a:rPr>
              <a:t> (N)</a:t>
            </a:r>
            <a:r>
              <a:rPr lang="ru-RU" sz="1400" dirty="0">
                <a:solidFill>
                  <a:schemeClr val="tx2"/>
                </a:solidFill>
              </a:rPr>
              <a:t> симуляций (до </a:t>
            </a:r>
            <a:r>
              <a:rPr lang="en-US" sz="1400" dirty="0">
                <a:solidFill>
                  <a:schemeClr val="tx2"/>
                </a:solidFill>
              </a:rPr>
              <a:t>T); </a:t>
            </a:r>
            <a:r>
              <a:rPr lang="ru-RU" sz="1400" dirty="0">
                <a:solidFill>
                  <a:schemeClr val="tx2"/>
                </a:solidFill>
              </a:rPr>
              <a:t>мы не симулируем дефолты</a:t>
            </a:r>
            <a:r>
              <a:rPr lang="en-US" sz="1400" dirty="0">
                <a:solidFill>
                  <a:schemeClr val="tx2"/>
                </a:solidFill>
              </a:rPr>
              <a:t>; PD </a:t>
            </a:r>
            <a:r>
              <a:rPr lang="ru-RU" sz="1400" dirty="0">
                <a:solidFill>
                  <a:schemeClr val="tx2"/>
                </a:solidFill>
              </a:rPr>
              <a:t>вычисляем</a:t>
            </a:r>
            <a:r>
              <a:rPr lang="en-US" sz="1400" dirty="0">
                <a:solidFill>
                  <a:schemeClr val="tx2"/>
                </a:solidFill>
              </a:rPr>
              <a:t> </a:t>
            </a:r>
            <a:r>
              <a:rPr lang="ru-RU" sz="1400" dirty="0">
                <a:solidFill>
                  <a:schemeClr val="tx2"/>
                </a:solidFill>
              </a:rPr>
              <a:t>аналитически из кредитной кривой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23" name="Прямоугольник 22">
                <a:extLst>
                  <a:ext uri="{FF2B5EF4-FFF2-40B4-BE49-F238E27FC236}">
                    <a16:creationId xmlns:a16="http://schemas.microsoft.com/office/drawing/2014/main" id="{C08D5FF4-08E8-5D41-A04B-9805F3A311C9}"/>
                  </a:ext>
                </a:extLst>
              </p:cNvPr>
              <p:cNvSpPr/>
              <p:nvPr/>
            </p:nvSpPr>
            <p:spPr>
              <a:xfrm>
                <a:off x="0" y="3117629"/>
                <a:ext cx="4671771" cy="1225464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ru-RU" sz="1600" dirty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Нужно:</a:t>
                </a:r>
                <a:endParaRPr lang="en-US" sz="1600" dirty="0">
                  <a:solidFill>
                    <a:srgbClr val="575757">
                      <a:lumMod val="50000"/>
                    </a:srgbClr>
                  </a:solidFill>
                  <a:latin typeface="SB Sans Display Light" panose="020B0303040504020204" pitchFamily="34" charset="0"/>
                  <a:cs typeface="SB Sans Display Light" panose="020B0303040504020204" pitchFamily="34" charset="0"/>
                </a:endParaRPr>
              </a:p>
              <a:p>
                <a:pPr algn="ctr">
                  <a:spcAft>
                    <a:spcPts val="127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Cambria Math" panose="02040503050406030204" pitchFamily="18" charset="0"/>
                          <a:cs typeface="SB Sans Display Light" panose="020B0303040504020204" pitchFamily="34" charset="0"/>
                        </a:rPr>
                        <m:t>𝐶𝑉𝐴</m:t>
                      </m:r>
                      <m:r>
                        <a:rPr lang="en-US" sz="1600" b="0" i="1" smtClean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Cambria Math" panose="02040503050406030204" pitchFamily="18" charset="0"/>
                          <a:cs typeface="SB Sans Display Light" panose="020B0303040504020204" pitchFamily="34" charset="0"/>
                        </a:rPr>
                        <m:t>=−</m:t>
                      </m:r>
                      <m:d>
                        <m:dPr>
                          <m:ctrlPr>
                            <a:rPr lang="en-US" sz="1600" b="0" i="1" smtClean="0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</m:ctrlPr>
                        </m:dPr>
                        <m:e>
                          <m:r>
                            <a:rPr lang="en-US" sz="1600" b="0" i="1" smtClean="0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  <m:t>1−</m:t>
                          </m:r>
                          <m:r>
                            <a:rPr lang="en-US" sz="1600" b="0" i="1" smtClean="0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  <m:t>𝑅𝑅</m:t>
                          </m:r>
                        </m:e>
                      </m:d>
                      <m:nary>
                        <m:naryPr>
                          <m:chr m:val="∑"/>
                          <m:ctrlPr>
                            <a:rPr lang="en-US" sz="1600" b="0" i="1" smtClean="0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en-US" sz="1600" b="0" i="1" smtClean="0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en-US" sz="1600" b="0" i="1" smtClean="0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r>
                            <a:rPr lang="en-US" sz="1600" b="0" i="1" smtClean="0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</a:rPr>
                            <m:t>𝑁</m:t>
                          </m:r>
                        </m:sup>
                        <m:e>
                          <m:nary>
                            <m:naryPr>
                              <m:chr m:val="∑"/>
                              <m:ctrlPr>
                                <a:rPr lang="en-US" sz="1600" b="0" i="1" smtClean="0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en-US" sz="1600" b="0" i="1" smtClean="0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en-US" sz="1600" b="0" i="1" smtClean="0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en-US" sz="1600" b="0" i="1" smtClean="0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</a:rPr>
                                <m:t>𝑀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sz="1600" i="1">
                                      <a:solidFill>
                                        <a:srgbClr val="575757">
                                          <a:lumMod val="50000"/>
                                        </a:srgbClr>
                                      </a:solidFill>
                                      <a:latin typeface="Cambria Math" panose="02040503050406030204" pitchFamily="18" charset="0"/>
                                      <a:cs typeface="SB Sans Display Light" panose="020B0303040504020204" pitchFamily="34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en-US" sz="1600" b="0" i="1" smtClean="0">
                                      <a:solidFill>
                                        <a:srgbClr val="575757">
                                          <a:lumMod val="50000"/>
                                        </a:srgbClr>
                                      </a:solidFill>
                                      <a:latin typeface="Cambria Math" panose="02040503050406030204" pitchFamily="18" charset="0"/>
                                      <a:cs typeface="SB Sans Display Light" panose="020B0303040504020204" pitchFamily="34" charset="0"/>
                                    </a:rPr>
                                    <m:t>𝐷</m:t>
                                  </m:r>
                                  <m:r>
                                    <a:rPr lang="en-US" sz="1600" b="0" i="1" smtClean="0">
                                      <a:solidFill>
                                        <a:srgbClr val="575757">
                                          <a:lumMod val="50000"/>
                                        </a:srgbClr>
                                      </a:solidFill>
                                      <a:latin typeface="Cambria Math" panose="02040503050406030204" pitchFamily="18" charset="0"/>
                                      <a:cs typeface="SB Sans Display Light" panose="020B0303040504020204" pitchFamily="34" charset="0"/>
                                    </a:rPr>
                                    <m:t>(0,</m:t>
                                  </m:r>
                                  <m:sSub>
                                    <m:sSubPr>
                                      <m:ctrlPr>
                                        <a:rPr lang="en-US" sz="1600" i="1">
                                          <a:solidFill>
                                            <a:srgbClr val="575757">
                                              <a:lumMod val="50000"/>
                                            </a:srgbClr>
                                          </a:solidFill>
                                          <a:latin typeface="Cambria Math" panose="02040503050406030204" pitchFamily="18" charset="0"/>
                                          <a:cs typeface="SB Sans Display Light" panose="020B0303040504020204" pitchFamily="34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sz="1600" i="1">
                                          <a:solidFill>
                                            <a:srgbClr val="575757">
                                              <a:lumMod val="50000"/>
                                            </a:srgbClr>
                                          </a:solidFill>
                                          <a:latin typeface="Cambria Math" panose="02040503050406030204" pitchFamily="18" charset="0"/>
                                          <a:cs typeface="SB Sans Display Light" panose="020B0303040504020204" pitchFamily="34" charset="0"/>
                                        </a:rPr>
                                        <m:t>𝑡</m:t>
                                      </m:r>
                                    </m:e>
                                    <m:sub>
                                      <m:r>
                                        <a:rPr lang="en-US" sz="1600" i="1">
                                          <a:solidFill>
                                            <a:srgbClr val="575757">
                                              <a:lumMod val="50000"/>
                                            </a:srgbClr>
                                          </a:solidFill>
                                          <a:latin typeface="Cambria Math" panose="02040503050406030204" pitchFamily="18" charset="0"/>
                                          <a:cs typeface="SB Sans Display Light" panose="020B0303040504020204" pitchFamily="34" charset="0"/>
                                        </a:rPr>
                                        <m:t>𝑖</m:t>
                                      </m:r>
                                    </m:sub>
                                  </m:sSub>
                                  <m:r>
                                    <a:rPr lang="en-US" sz="1600" b="0" i="1" smtClean="0">
                                      <a:solidFill>
                                        <a:srgbClr val="575757">
                                          <a:lumMod val="50000"/>
                                        </a:srgbClr>
                                      </a:solidFill>
                                      <a:latin typeface="Cambria Math" panose="02040503050406030204" pitchFamily="18" charset="0"/>
                                      <a:cs typeface="SB Sans Display Light" panose="020B0303040504020204" pitchFamily="34" charset="0"/>
                                    </a:rPr>
                                    <m:t>)</m:t>
                                  </m:r>
                                  <m:r>
                                    <a:rPr lang="en-US" sz="1600" i="1">
                                      <a:solidFill>
                                        <a:srgbClr val="575757">
                                          <a:lumMod val="50000"/>
                                        </a:srgbClr>
                                      </a:solidFill>
                                      <a:latin typeface="Cambria Math" panose="02040503050406030204" pitchFamily="18" charset="0"/>
                                      <a:cs typeface="SB Sans Display Light" panose="020B0303040504020204" pitchFamily="34" charset="0"/>
                                    </a:rPr>
                                    <m:t>𝑉</m:t>
                                  </m:r>
                                </m:e>
                                <m:sub>
                                  <m:sSub>
                                    <m:sSubPr>
                                      <m:ctrlPr>
                                        <a:rPr lang="en-US" sz="1600" i="1">
                                          <a:solidFill>
                                            <a:srgbClr val="575757">
                                              <a:lumMod val="50000"/>
                                            </a:srgbClr>
                                          </a:solidFill>
                                          <a:latin typeface="Cambria Math" panose="02040503050406030204" pitchFamily="18" charset="0"/>
                                          <a:cs typeface="SB Sans Display Light" panose="020B0303040504020204" pitchFamily="34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sz="1600" i="1">
                                          <a:solidFill>
                                            <a:srgbClr val="575757">
                                              <a:lumMod val="50000"/>
                                            </a:srgbClr>
                                          </a:solidFill>
                                          <a:latin typeface="Cambria Math" panose="02040503050406030204" pitchFamily="18" charset="0"/>
                                          <a:cs typeface="SB Sans Display Light" panose="020B0303040504020204" pitchFamily="34" charset="0"/>
                                        </a:rPr>
                                        <m:t>𝑡</m:t>
                                      </m:r>
                                    </m:e>
                                    <m:sub>
                                      <m:r>
                                        <a:rPr lang="en-US" sz="1600" i="1">
                                          <a:solidFill>
                                            <a:srgbClr val="575757">
                                              <a:lumMod val="50000"/>
                                            </a:srgbClr>
                                          </a:solidFill>
                                          <a:latin typeface="Cambria Math" panose="02040503050406030204" pitchFamily="18" charset="0"/>
                                          <a:cs typeface="SB Sans Display Light" panose="020B0303040504020204" pitchFamily="34" charset="0"/>
                                        </a:rPr>
                                        <m:t>𝑖</m:t>
                                      </m:r>
                                    </m:sub>
                                  </m:sSub>
                                </m:sub>
                                <m:sup>
                                  <m:r>
                                    <a:rPr lang="en-US" sz="1600" i="1">
                                      <a:solidFill>
                                        <a:srgbClr val="575757">
                                          <a:lumMod val="50000"/>
                                        </a:srgbClr>
                                      </a:solidFill>
                                      <a:latin typeface="Cambria Math" panose="02040503050406030204" pitchFamily="18" charset="0"/>
                                      <a:cs typeface="SB Sans Display Light" panose="020B0303040504020204" pitchFamily="34" charset="0"/>
                                    </a:rPr>
                                    <m:t>+</m:t>
                                  </m:r>
                                </m:sup>
                              </m:sSubSup>
                              <m:r>
                                <a:rPr lang="en-US" sz="1600" i="1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  <a:cs typeface="SB Sans Display Light" panose="020B0303040504020204" pitchFamily="34" charset="0"/>
                                </a:rPr>
                                <m:t> </m:t>
                              </m:r>
                              <m:r>
                                <m:rPr>
                                  <m:sty m:val="p"/>
                                </m:rPr>
                                <a:rPr lang="ru-RU" sz="1600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  <a:cs typeface="SB Sans Display Light" panose="020B0303040504020204" pitchFamily="34" charset="0"/>
                                </a:rPr>
                                <m:t>Δ</m:t>
                              </m:r>
                              <m:sSub>
                                <m:sSubPr>
                                  <m:ctrlPr>
                                    <a:rPr lang="en-US" sz="1600" i="1">
                                      <a:solidFill>
                                        <a:srgbClr val="575757">
                                          <a:lumMod val="50000"/>
                                        </a:srgbClr>
                                      </a:solidFill>
                                      <a:latin typeface="Cambria Math" panose="02040503050406030204" pitchFamily="18" charset="0"/>
                                      <a:cs typeface="SB Sans Display Light" panose="020B0303040504020204" pitchFamily="34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sz="1600" i="1">
                                      <a:solidFill>
                                        <a:srgbClr val="575757">
                                          <a:lumMod val="50000"/>
                                        </a:srgbClr>
                                      </a:solidFill>
                                      <a:latin typeface="Cambria Math" panose="02040503050406030204" pitchFamily="18" charset="0"/>
                                      <a:cs typeface="SB Sans Display Light" panose="020B0303040504020204" pitchFamily="34" charset="0"/>
                                    </a:rPr>
                                    <m:t>𝑡</m:t>
                                  </m:r>
                                </m:e>
                                <m:sub>
                                  <m:r>
                                    <a:rPr lang="en-US" sz="1600" i="1">
                                      <a:solidFill>
                                        <a:srgbClr val="575757">
                                          <a:lumMod val="50000"/>
                                        </a:srgbClr>
                                      </a:solidFill>
                                      <a:latin typeface="Cambria Math" panose="02040503050406030204" pitchFamily="18" charset="0"/>
                                      <a:cs typeface="SB Sans Display Light" panose="020B0303040504020204" pitchFamily="34" charset="0"/>
                                    </a:rPr>
                                    <m:t>𝑖</m:t>
                                  </m:r>
                                </m:sub>
                              </m:sSub>
                            </m:e>
                          </m:nary>
                          <m:r>
                            <a:rPr lang="en-US" sz="1600" i="1" dirty="0">
                              <a:latin typeface="Cambria Math" panose="02040503050406030204" pitchFamily="18" charset="0"/>
                            </a:rPr>
                            <m:t>𝑃𝐷</m:t>
                          </m:r>
                          <m:r>
                            <a:rPr lang="en-US" sz="1600" i="1" dirty="0">
                              <a:latin typeface="Cambria Math" panose="02040503050406030204" pitchFamily="18" charset="0"/>
                            </a:rPr>
                            <m:t>(</m:t>
                          </m:r>
                          <m:sSub>
                            <m:sSubPr>
                              <m:ctrlPr>
                                <a:rPr lang="en-US" sz="1600" i="1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  <a:cs typeface="SB Sans Display Light" panose="020B0303040504020204" pitchFamily="34" charset="0"/>
                                </a:rPr>
                              </m:ctrlPr>
                            </m:sSubPr>
                            <m:e>
                              <m:r>
                                <a:rPr lang="en-US" sz="1600" i="1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  <a:cs typeface="SB Sans Display Light" panose="020B0303040504020204" pitchFamily="34" charset="0"/>
                                </a:rPr>
                                <m:t>𝑡</m:t>
                              </m:r>
                            </m:e>
                            <m:sub>
                              <m:r>
                                <a:rPr lang="en-US" sz="1600" i="1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  <a:cs typeface="SB Sans Display Light" panose="020B0303040504020204" pitchFamily="34" charset="0"/>
                                </a:rPr>
                                <m:t>𝑖</m:t>
                              </m:r>
                              <m:r>
                                <a:rPr lang="en-US" sz="1600" i="1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  <a:cs typeface="SB Sans Display Light" panose="020B0303040504020204" pitchFamily="34" charset="0"/>
                                </a:rPr>
                                <m:t>−1</m:t>
                              </m:r>
                            </m:sub>
                          </m:sSub>
                          <m:r>
                            <m:rPr>
                              <m:nor/>
                            </m:rPr>
                            <a:rPr lang="en-US" sz="1600" dirty="0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SB Sans Display Light" panose="020B0303040504020204" pitchFamily="34" charset="0"/>
                              <a:cs typeface="SB Sans Display Light" panose="020B0303040504020204" pitchFamily="34" charset="0"/>
                            </a:rPr>
                            <m:t>,</m:t>
                          </m:r>
                          <m:r>
                            <m:rPr>
                              <m:nor/>
                            </m:rPr>
                            <a:rPr lang="en-US" sz="1600" dirty="0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cs typeface="SB Sans Display Light" panose="020B0303040504020204" pitchFamily="34" charset="0"/>
                            </a:rPr>
                            <m:t> </m:t>
                          </m:r>
                          <m:sSub>
                            <m:sSubPr>
                              <m:ctrlPr>
                                <a:rPr lang="en-US" sz="1600" i="1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  <a:cs typeface="SB Sans Display Light" panose="020B0303040504020204" pitchFamily="34" charset="0"/>
                                </a:rPr>
                              </m:ctrlPr>
                            </m:sSubPr>
                            <m:e>
                              <m:r>
                                <a:rPr lang="en-US" sz="1600" i="1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  <a:cs typeface="SB Sans Display Light" panose="020B0303040504020204" pitchFamily="34" charset="0"/>
                                </a:rPr>
                                <m:t>𝑡</m:t>
                              </m:r>
                            </m:e>
                            <m:sub>
                              <m:r>
                                <a:rPr lang="en-US" sz="1600" i="1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  <a:cs typeface="SB Sans Display Light" panose="020B0303040504020204" pitchFamily="34" charset="0"/>
                                </a:rPr>
                                <m:t>𝑖</m:t>
                              </m:r>
                            </m:sub>
                          </m:sSub>
                          <m:r>
                            <m:rPr>
                              <m:nor/>
                            </m:rPr>
                            <a:rPr lang="en-US" sz="1600" dirty="0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SB Sans Display Light" panose="020B0303040504020204" pitchFamily="34" charset="0"/>
                              <a:cs typeface="SB Sans Display Light" panose="020B0303040504020204" pitchFamily="34" charset="0"/>
                            </a:rPr>
                            <m:t>)</m:t>
                          </m:r>
                        </m:e>
                      </m:nary>
                    </m:oMath>
                  </m:oMathPara>
                </a14:m>
                <a:endParaRPr lang="ru-RU" sz="1600" dirty="0">
                  <a:solidFill>
                    <a:srgbClr val="575757">
                      <a:lumMod val="50000"/>
                    </a:srgbClr>
                  </a:solidFill>
                  <a:latin typeface="SB Sans Display Light" panose="020B0303040504020204" pitchFamily="34" charset="0"/>
                  <a:cs typeface="SB Sans Display Light" panose="020B0303040504020204" pitchFamily="34" charset="0"/>
                </a:endParaRPr>
              </a:p>
            </p:txBody>
          </p:sp>
        </mc:Choice>
        <mc:Fallback>
          <p:sp>
            <p:nvSpPr>
              <p:cNvPr id="23" name="Прямоугольник 22">
                <a:extLst>
                  <a:ext uri="{FF2B5EF4-FFF2-40B4-BE49-F238E27FC236}">
                    <a16:creationId xmlns:a16="http://schemas.microsoft.com/office/drawing/2014/main" id="{C08D5FF4-08E8-5D41-A04B-9805F3A311C9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0" y="3117629"/>
                <a:ext cx="4671771" cy="1225464"/>
              </a:xfrm>
              <a:prstGeom prst="rect">
                <a:avLst/>
              </a:prstGeom>
              <a:blipFill>
                <a:blip r:embed="rId6"/>
                <a:stretch>
                  <a:fillRect t="-42268" b="-83505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24" name="Прямоугольник 23">
                <a:extLst>
                  <a:ext uri="{FF2B5EF4-FFF2-40B4-BE49-F238E27FC236}">
                    <a16:creationId xmlns:a16="http://schemas.microsoft.com/office/drawing/2014/main" id="{32E66EC6-8B0D-3C47-A7AE-B3AFED15449D}"/>
                  </a:ext>
                </a:extLst>
              </p:cNvPr>
              <p:cNvSpPr/>
              <p:nvPr/>
            </p:nvSpPr>
            <p:spPr>
              <a:xfrm>
                <a:off x="4842200" y="2959363"/>
                <a:ext cx="1894993" cy="64350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ru-RU" sz="1600" dirty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Из </a:t>
                </a:r>
                <a:r>
                  <a:rPr lang="en-US" sz="1600" dirty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AMC </a:t>
                </a:r>
                <a:r>
                  <a:rPr lang="ru-RU" sz="1600" dirty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имеем:</a:t>
                </a:r>
                <a:endParaRPr lang="en-US" sz="1600" dirty="0">
                  <a:solidFill>
                    <a:srgbClr val="575757">
                      <a:lumMod val="50000"/>
                    </a:srgbClr>
                  </a:solidFill>
                  <a:latin typeface="SB Sans Display Light" panose="020B0303040504020204" pitchFamily="34" charset="0"/>
                  <a:cs typeface="SB Sans Display Light" panose="020B0303040504020204" pitchFamily="34" charset="0"/>
                </a:endParaRPr>
              </a:p>
              <a:p>
                <a:pPr algn="ctr">
                  <a:spcAft>
                    <a:spcPts val="1270"/>
                  </a:spcAft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en-US" sz="1600" b="0" i="1" smtClean="0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Cambria Math" panose="02040503050406030204" pitchFamily="18" charset="0"/>
                            <a:cs typeface="SB Sans Display Light" panose="020B0303040504020204" pitchFamily="34" charset="0"/>
                          </a:rPr>
                        </m:ctrlPr>
                      </m:sSubPr>
                      <m:e>
                        <m:r>
                          <a:rPr lang="en-US" sz="1600" b="0" i="1" smtClean="0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Cambria Math" panose="02040503050406030204" pitchFamily="18" charset="0"/>
                            <a:cs typeface="SB Sans Display Light" panose="020B0303040504020204" pitchFamily="34" charset="0"/>
                          </a:rPr>
                          <m:t>𝑉</m:t>
                        </m:r>
                      </m:e>
                      <m:sub>
                        <m:sSub>
                          <m:sSubPr>
                            <m:ctrlPr>
                              <a:rPr lang="en-US" sz="1600" b="0" i="1" smtClean="0">
                                <a:solidFill>
                                  <a:srgbClr val="575757">
                                    <a:lumMod val="50000"/>
                                  </a:srgbClr>
                                </a:solidFill>
                                <a:latin typeface="Cambria Math" panose="02040503050406030204" pitchFamily="18" charset="0"/>
                                <a:cs typeface="SB Sans Display Light" panose="020B0303040504020204" pitchFamily="34" charset="0"/>
                              </a:rPr>
                            </m:ctrlPr>
                          </m:sSubPr>
                          <m:e>
                            <m:r>
                              <a:rPr lang="en-US" sz="1600" b="0" i="1" smtClean="0">
                                <a:solidFill>
                                  <a:srgbClr val="575757">
                                    <a:lumMod val="50000"/>
                                  </a:srgbClr>
                                </a:solidFill>
                                <a:latin typeface="Cambria Math" panose="02040503050406030204" pitchFamily="18" charset="0"/>
                                <a:cs typeface="SB Sans Display Light" panose="020B0303040504020204" pitchFamily="34" charset="0"/>
                              </a:rPr>
                              <m:t>𝑡</m:t>
                            </m:r>
                          </m:e>
                          <m:sub>
                            <m:r>
                              <a:rPr lang="en-US" sz="1600" b="0" i="1" smtClean="0">
                                <a:solidFill>
                                  <a:srgbClr val="575757">
                                    <a:lumMod val="50000"/>
                                  </a:srgbClr>
                                </a:solidFill>
                                <a:latin typeface="Cambria Math" panose="02040503050406030204" pitchFamily="18" charset="0"/>
                                <a:cs typeface="SB Sans Display Light" panose="020B0303040504020204" pitchFamily="34" charset="0"/>
                              </a:rPr>
                              <m:t>𝑖</m:t>
                            </m:r>
                          </m:sub>
                        </m:sSub>
                      </m:sub>
                    </m:sSub>
                    <m:d>
                      <m:dPr>
                        <m:ctrlPr>
                          <a:rPr lang="en-US" sz="1600" b="0" i="1" smtClean="0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Cambria Math" panose="02040503050406030204" pitchFamily="18" charset="0"/>
                            <a:cs typeface="SB Sans Display Light" panose="020B0303040504020204" pitchFamily="34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sz="1600" b="0" i="1" smtClean="0">
                                <a:solidFill>
                                  <a:srgbClr val="575757">
                                    <a:lumMod val="50000"/>
                                  </a:srgbClr>
                                </a:solidFill>
                                <a:latin typeface="Cambria Math" panose="02040503050406030204" pitchFamily="18" charset="0"/>
                                <a:cs typeface="SB Sans Display Light" panose="020B0303040504020204" pitchFamily="34" charset="0"/>
                              </a:rPr>
                            </m:ctrlPr>
                          </m:sSubPr>
                          <m:e>
                            <m:r>
                              <a:rPr lang="en-US" sz="1600" b="0" i="1" smtClean="0">
                                <a:solidFill>
                                  <a:srgbClr val="575757">
                                    <a:lumMod val="50000"/>
                                  </a:srgbClr>
                                </a:solidFill>
                                <a:latin typeface="Cambria Math" panose="02040503050406030204" pitchFamily="18" charset="0"/>
                                <a:cs typeface="SB Sans Display Light" panose="020B0303040504020204" pitchFamily="34" charset="0"/>
                              </a:rPr>
                              <m:t>𝜔</m:t>
                            </m:r>
                          </m:e>
                          <m:sub>
                            <m:r>
                              <a:rPr lang="en-US" sz="1600" b="0" i="1" smtClean="0">
                                <a:solidFill>
                                  <a:srgbClr val="575757">
                                    <a:lumMod val="50000"/>
                                  </a:srgbClr>
                                </a:solidFill>
                                <a:latin typeface="Cambria Math" panose="02040503050406030204" pitchFamily="18" charset="0"/>
                                <a:cs typeface="SB Sans Display Light" panose="020B0303040504020204" pitchFamily="34" charset="0"/>
                              </a:rPr>
                              <m:t>𝑗</m:t>
                            </m:r>
                          </m:sub>
                        </m:sSub>
                      </m:e>
                    </m:d>
                    <m:r>
                      <a:rPr lang="en-US" sz="1600" b="0" i="1" smtClean="0">
                        <a:solidFill>
                          <a:srgbClr val="575757">
                            <a:lumMod val="50000"/>
                          </a:srgbClr>
                        </a:solidFill>
                        <a:latin typeface="Cambria Math" panose="02040503050406030204" pitchFamily="18" charset="0"/>
                        <a:cs typeface="SB Sans Display Light" panose="020B0303040504020204" pitchFamily="34" charset="0"/>
                      </a:rPr>
                      <m:t>≈</m:t>
                    </m:r>
                    <m:sSub>
                      <m:sSubPr>
                        <m:ctrlPr>
                          <a:rPr lang="en-US" sz="1600" b="0" i="1" smtClean="0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Cambria Math" panose="02040503050406030204" pitchFamily="18" charset="0"/>
                            <a:cs typeface="SB Sans Display Light" panose="020B0303040504020204" pitchFamily="34" charset="0"/>
                          </a:rPr>
                        </m:ctrlPr>
                      </m:sSubPr>
                      <m:e>
                        <m:acc>
                          <m:accPr>
                            <m:chr m:val="̃"/>
                            <m:ctrlPr>
                              <a:rPr lang="en-US" sz="1600" b="0" i="1" smtClean="0">
                                <a:solidFill>
                                  <a:srgbClr val="575757">
                                    <a:lumMod val="50000"/>
                                  </a:srgbClr>
                                </a:solidFill>
                                <a:latin typeface="Cambria Math" panose="02040503050406030204" pitchFamily="18" charset="0"/>
                                <a:cs typeface="SB Sans Display Light" panose="020B0303040504020204" pitchFamily="34" charset="0"/>
                              </a:rPr>
                            </m:ctrlPr>
                          </m:accPr>
                          <m:e>
                            <m:r>
                              <a:rPr lang="en-US" sz="1600" b="0" i="1" smtClean="0">
                                <a:solidFill>
                                  <a:srgbClr val="575757">
                                    <a:lumMod val="50000"/>
                                  </a:srgbClr>
                                </a:solidFill>
                                <a:latin typeface="Cambria Math" panose="02040503050406030204" pitchFamily="18" charset="0"/>
                                <a:cs typeface="SB Sans Display Light" panose="020B0303040504020204" pitchFamily="34" charset="0"/>
                              </a:rPr>
                              <m:t>𝑉</m:t>
                            </m:r>
                          </m:e>
                        </m:acc>
                      </m:e>
                      <m:sub>
                        <m:sSub>
                          <m:sSubPr>
                            <m:ctrlPr>
                              <a:rPr lang="en-US" sz="1600" b="0" i="1" smtClean="0">
                                <a:solidFill>
                                  <a:srgbClr val="575757">
                                    <a:lumMod val="50000"/>
                                  </a:srgbClr>
                                </a:solidFill>
                                <a:latin typeface="Cambria Math" panose="02040503050406030204" pitchFamily="18" charset="0"/>
                                <a:cs typeface="SB Sans Display Light" panose="020B0303040504020204" pitchFamily="34" charset="0"/>
                              </a:rPr>
                            </m:ctrlPr>
                          </m:sSubPr>
                          <m:e>
                            <m:r>
                              <a:rPr lang="en-US" sz="1600" b="0" i="1" smtClean="0">
                                <a:solidFill>
                                  <a:srgbClr val="575757">
                                    <a:lumMod val="50000"/>
                                  </a:srgbClr>
                                </a:solidFill>
                                <a:latin typeface="Cambria Math" panose="02040503050406030204" pitchFamily="18" charset="0"/>
                                <a:cs typeface="SB Sans Display Light" panose="020B0303040504020204" pitchFamily="34" charset="0"/>
                              </a:rPr>
                              <m:t>𝑡</m:t>
                            </m:r>
                          </m:e>
                          <m:sub>
                            <m:r>
                              <a:rPr lang="en-US" sz="1600" b="0" i="1" smtClean="0">
                                <a:solidFill>
                                  <a:srgbClr val="575757">
                                    <a:lumMod val="50000"/>
                                  </a:srgbClr>
                                </a:solidFill>
                                <a:latin typeface="Cambria Math" panose="02040503050406030204" pitchFamily="18" charset="0"/>
                                <a:cs typeface="SB Sans Display Light" panose="020B0303040504020204" pitchFamily="34" charset="0"/>
                              </a:rPr>
                              <m:t>𝑖</m:t>
                            </m:r>
                          </m:sub>
                        </m:sSub>
                        <m:r>
                          <a:rPr lang="en-US" sz="1600" b="0" i="1" smtClean="0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Cambria Math" panose="02040503050406030204" pitchFamily="18" charset="0"/>
                            <a:cs typeface="SB Sans Display Light" panose="020B0303040504020204" pitchFamily="34" charset="0"/>
                          </a:rPr>
                          <m:t> </m:t>
                        </m:r>
                      </m:sub>
                    </m:sSub>
                    <m:r>
                      <a:rPr lang="en-US" sz="1600" b="0" i="1" smtClean="0">
                        <a:solidFill>
                          <a:srgbClr val="575757">
                            <a:lumMod val="50000"/>
                          </a:srgbClr>
                        </a:solidFill>
                        <a:latin typeface="Cambria Math" panose="02040503050406030204" pitchFamily="18" charset="0"/>
                        <a:cs typeface="SB Sans Display Light" panose="020B0303040504020204" pitchFamily="34" charset="0"/>
                      </a:rPr>
                      <m:t>(</m:t>
                    </m:r>
                    <m:sSub>
                      <m:sSubPr>
                        <m:ctrlPr>
                          <a:rPr lang="en-US" sz="1600" b="0" i="1" smtClean="0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Cambria Math" panose="02040503050406030204" pitchFamily="18" charset="0"/>
                            <a:cs typeface="SB Sans Display Light" panose="020B0303040504020204" pitchFamily="34" charset="0"/>
                          </a:rPr>
                        </m:ctrlPr>
                      </m:sSubPr>
                      <m:e>
                        <m:r>
                          <a:rPr lang="en-US" sz="1600" b="0" i="1" smtClean="0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Cambria Math" panose="02040503050406030204" pitchFamily="18" charset="0"/>
                            <a:cs typeface="SB Sans Display Light" panose="020B0303040504020204" pitchFamily="34" charset="0"/>
                          </a:rPr>
                          <m:t>𝜔</m:t>
                        </m:r>
                      </m:e>
                      <m:sub>
                        <m:r>
                          <a:rPr lang="en-US" sz="1600" b="0" i="1" smtClean="0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Cambria Math" panose="02040503050406030204" pitchFamily="18" charset="0"/>
                            <a:cs typeface="SB Sans Display Light" panose="020B0303040504020204" pitchFamily="34" charset="0"/>
                          </a:rPr>
                          <m:t>𝑗</m:t>
                        </m:r>
                      </m:sub>
                    </m:sSub>
                    <m:r>
                      <a:rPr lang="en-US" sz="1600" b="0" i="1" smtClean="0">
                        <a:solidFill>
                          <a:srgbClr val="575757">
                            <a:lumMod val="50000"/>
                          </a:srgbClr>
                        </a:solidFill>
                        <a:latin typeface="Cambria Math" panose="02040503050406030204" pitchFamily="18" charset="0"/>
                        <a:cs typeface="SB Sans Display Light" panose="020B0303040504020204" pitchFamily="34" charset="0"/>
                      </a:rPr>
                      <m:t>)</m:t>
                    </m:r>
                  </m:oMath>
                </a14:m>
                <a:r>
                  <a:rPr lang="ru-RU" sz="1600" dirty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  </a:t>
                </a:r>
              </a:p>
            </p:txBody>
          </p:sp>
        </mc:Choice>
        <mc:Fallback>
          <p:sp>
            <p:nvSpPr>
              <p:cNvPr id="24" name="Прямоугольник 23">
                <a:extLst>
                  <a:ext uri="{FF2B5EF4-FFF2-40B4-BE49-F238E27FC236}">
                    <a16:creationId xmlns:a16="http://schemas.microsoft.com/office/drawing/2014/main" id="{32E66EC6-8B0D-3C47-A7AE-B3AFED15449D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842200" y="2959363"/>
                <a:ext cx="1894993" cy="643509"/>
              </a:xfrm>
              <a:prstGeom prst="rect">
                <a:avLst/>
              </a:prstGeom>
              <a:blipFill>
                <a:blip r:embed="rId7"/>
                <a:stretch>
                  <a:fillRect t="-1923" b="-1923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7" name="Прямая со стрелкой 26">
            <a:extLst>
              <a:ext uri="{FF2B5EF4-FFF2-40B4-BE49-F238E27FC236}">
                <a16:creationId xmlns:a16="http://schemas.microsoft.com/office/drawing/2014/main" id="{717100DA-1750-734A-B056-8A7695CE83CB}"/>
              </a:ext>
            </a:extLst>
          </p:cNvPr>
          <p:cNvCxnSpPr>
            <a:cxnSpLocks/>
          </p:cNvCxnSpPr>
          <p:nvPr/>
        </p:nvCxnSpPr>
        <p:spPr>
          <a:xfrm flipH="1">
            <a:off x="5370490" y="1529603"/>
            <a:ext cx="1596980" cy="380355"/>
          </a:xfrm>
          <a:prstGeom prst="straightConnector1">
            <a:avLst/>
          </a:prstGeom>
          <a:ln>
            <a:solidFill>
              <a:schemeClr val="accent3">
                <a:lumMod val="75000"/>
              </a:schemeClr>
            </a:solidFill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28" name="Прямая со стрелкой 27">
            <a:extLst>
              <a:ext uri="{FF2B5EF4-FFF2-40B4-BE49-F238E27FC236}">
                <a16:creationId xmlns:a16="http://schemas.microsoft.com/office/drawing/2014/main" id="{B9A64FAB-B517-AA42-BC2D-2D78ECD3A055}"/>
              </a:ext>
            </a:extLst>
          </p:cNvPr>
          <p:cNvCxnSpPr>
            <a:cxnSpLocks/>
          </p:cNvCxnSpPr>
          <p:nvPr/>
        </p:nvCxnSpPr>
        <p:spPr>
          <a:xfrm>
            <a:off x="7804597" y="1529603"/>
            <a:ext cx="2446986" cy="489982"/>
          </a:xfrm>
          <a:prstGeom prst="straightConnector1">
            <a:avLst/>
          </a:prstGeom>
          <a:ln>
            <a:solidFill>
              <a:schemeClr val="accent3">
                <a:lumMod val="75000"/>
              </a:schemeClr>
            </a:solidFill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07122291-2166-0245-A9B6-3E00C9EDCFB7}"/>
              </a:ext>
            </a:extLst>
          </p:cNvPr>
          <p:cNvSpPr txBox="1"/>
          <p:nvPr/>
        </p:nvSpPr>
        <p:spPr>
          <a:xfrm>
            <a:off x="6594132" y="1237530"/>
            <a:ext cx="1763303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ntinuation value</a:t>
            </a:r>
            <a:endParaRPr lang="ru-RU" dirty="0" err="1">
              <a:solidFill>
                <a:srgbClr val="0070C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EBD8EB28-E2FE-734D-A97B-33320541E01C}"/>
              </a:ext>
            </a:extLst>
          </p:cNvPr>
          <p:cNvSpPr txBox="1"/>
          <p:nvPr/>
        </p:nvSpPr>
        <p:spPr>
          <a:xfrm flipH="1">
            <a:off x="447271" y="6323639"/>
            <a:ext cx="6289922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dirty="0">
                <a:solidFill>
                  <a:schemeClr val="tx2"/>
                </a:solidFill>
              </a:rPr>
              <a:t>American Monte Carlo </a:t>
            </a:r>
            <a:r>
              <a:rPr lang="ru-RU" sz="1400" dirty="0">
                <a:solidFill>
                  <a:schemeClr val="tx2"/>
                </a:solidFill>
              </a:rPr>
              <a:t>потому и называется </a:t>
            </a:r>
            <a:r>
              <a:rPr lang="en-US" sz="1400" dirty="0">
                <a:solidFill>
                  <a:schemeClr val="tx2"/>
                </a:solidFill>
              </a:rPr>
              <a:t>American, </a:t>
            </a:r>
            <a:r>
              <a:rPr lang="ru-RU" sz="1400" dirty="0">
                <a:solidFill>
                  <a:schemeClr val="tx2"/>
                </a:solidFill>
              </a:rPr>
              <a:t>что используем тот метод с регрессией</a:t>
            </a:r>
            <a:r>
              <a:rPr lang="en-US" sz="1400" dirty="0">
                <a:solidFill>
                  <a:schemeClr val="tx2"/>
                </a:solidFill>
              </a:rPr>
              <a:t>, </a:t>
            </a:r>
            <a:r>
              <a:rPr lang="ru-RU" sz="1400" dirty="0">
                <a:solidFill>
                  <a:schemeClr val="tx2"/>
                </a:solidFill>
              </a:rPr>
              <a:t>который придумали для оценки американских опционов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5C93C1C2-C6B8-714A-B094-B569ED7EF059}"/>
              </a:ext>
            </a:extLst>
          </p:cNvPr>
          <p:cNvSpPr txBox="1"/>
          <p:nvPr/>
        </p:nvSpPr>
        <p:spPr>
          <a:xfrm>
            <a:off x="447271" y="5968648"/>
            <a:ext cx="714643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400" dirty="0">
                <a:solidFill>
                  <a:schemeClr val="tx2"/>
                </a:solidFill>
              </a:rPr>
              <a:t>Но мы уже видели ситуацию</a:t>
            </a:r>
            <a:r>
              <a:rPr lang="en-US" sz="1400" dirty="0">
                <a:solidFill>
                  <a:schemeClr val="tx2"/>
                </a:solidFill>
              </a:rPr>
              <a:t>, </a:t>
            </a:r>
            <a:r>
              <a:rPr lang="ru-RU" sz="1400" dirty="0">
                <a:solidFill>
                  <a:schemeClr val="tx2"/>
                </a:solidFill>
              </a:rPr>
              <a:t>где нам нужно было вычислять </a:t>
            </a:r>
            <a:r>
              <a:rPr lang="en-US" sz="1400" dirty="0">
                <a:solidFill>
                  <a:schemeClr val="tx2"/>
                </a:solidFill>
              </a:rPr>
              <a:t>Continuation Value!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74577076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53B53AD-6338-5C4B-9A08-000A4086FD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441" y="120013"/>
            <a:ext cx="8537154" cy="882538"/>
          </a:xfrm>
        </p:spPr>
        <p:txBody>
          <a:bodyPr>
            <a:noAutofit/>
          </a:bodyPr>
          <a:lstStyle/>
          <a:p>
            <a:r>
              <a:rPr lang="ru-RU" sz="3200" dirty="0"/>
              <a:t>Пример</a:t>
            </a:r>
            <a:r>
              <a:rPr lang="en-US" sz="3200" dirty="0"/>
              <a:t>: CVA </a:t>
            </a:r>
            <a:r>
              <a:rPr lang="ru-RU" sz="3200" dirty="0"/>
              <a:t>для форварда без </a:t>
            </a:r>
            <a:r>
              <a:rPr lang="en-US" sz="3200" dirty="0"/>
              <a:t>CSA </a:t>
            </a:r>
            <a:r>
              <a:rPr lang="ru-RU" sz="3200" dirty="0"/>
              <a:t>и </a:t>
            </a:r>
            <a:r>
              <a:rPr lang="en-US" sz="3200" dirty="0"/>
              <a:t>c CSA (=Credit Support Annex)</a:t>
            </a:r>
            <a:endParaRPr lang="ru-RU" sz="3200" dirty="0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B387A9DE-06B8-2C45-AB69-72822ACCC68D}"/>
                  </a:ext>
                </a:extLst>
              </p:cNvPr>
              <p:cNvSpPr txBox="1"/>
              <p:nvPr/>
            </p:nvSpPr>
            <p:spPr>
              <a:xfrm>
                <a:off x="252807" y="1297159"/>
                <a:ext cx="4669706" cy="71526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en-US" i="1" smtClean="0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  <m:t>𝐶𝑉𝐴</m:t>
                          </m:r>
                          <m:r>
                            <a:rPr lang="en-US" b="0" i="1" smtClean="0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  <m:t>=−</m:t>
                          </m:r>
                          <m:d>
                            <m:dPr>
                              <m:ctrlPr>
                                <a:rPr lang="en-US" b="0" i="1" smtClean="0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  <a:cs typeface="SB Sans Display Light" panose="020B0303040504020204" pitchFamily="34" charset="0"/>
                                </a:rPr>
                              </m:ctrlPr>
                            </m:dPr>
                            <m:e>
                              <m:r>
                                <a:rPr lang="en-US" b="0" i="1" smtClean="0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  <a:cs typeface="SB Sans Display Light" panose="020B0303040504020204" pitchFamily="34" charset="0"/>
                                </a:rPr>
                                <m:t>1−</m:t>
                              </m:r>
                              <m:r>
                                <a:rPr lang="en-US" b="0" i="1" smtClean="0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  <a:cs typeface="SB Sans Display Light" panose="020B0303040504020204" pitchFamily="34" charset="0"/>
                                </a:rPr>
                                <m:t>𝑅𝑅</m:t>
                              </m:r>
                            </m:e>
                          </m:d>
                          <m:r>
                            <a:rPr lang="en-US" b="0" i="1" smtClean="0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  <m:t>∗</m:t>
                          </m:r>
                          <m:r>
                            <a:rPr lang="en-US" i="1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  <m:t>𝐸</m:t>
                          </m:r>
                        </m:e>
                        <m:sup>
                          <m:r>
                            <a:rPr lang="en-US" i="1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  <m:t>𝑄</m:t>
                          </m:r>
                        </m:sup>
                      </m:sSup>
                      <m:nary>
                        <m:naryPr>
                          <m:ctrlPr>
                            <a:rPr lang="en-US" i="1" smtClean="0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en-US" b="0" i="1" smtClean="0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</a:rPr>
                            <m:t>𝑡</m:t>
                          </m:r>
                          <m:r>
                            <a:rPr lang="en-US" b="0" i="1" smtClean="0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</a:rPr>
                            <m:t>=0</m:t>
                          </m:r>
                        </m:sub>
                        <m:sup>
                          <m:r>
                            <a:rPr lang="en-US" b="0" i="1" smtClean="0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</a:rPr>
                            <m:t>𝑇</m:t>
                          </m:r>
                        </m:sup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𝐷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(0,</m:t>
                          </m:r>
                          <m:r>
                            <m:rPr>
                              <m:sty m:val="p"/>
                            </m:rPr>
                            <a:rPr lang="en-US">
                              <a:latin typeface="Cambria Math" panose="02040503050406030204" pitchFamily="18" charset="0"/>
                            </a:rPr>
                            <m:t>t</m:t>
                          </m:r>
                          <m:r>
                            <a:rPr lang="en-US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)</m:t>
                          </m:r>
                          <m:sSubSup>
                            <m:sSubSupPr>
                              <m:ctrlPr>
                                <a:rPr lang="en-US" i="1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  <a:cs typeface="SB Sans Display Light" panose="020B0303040504020204" pitchFamily="34" charset="0"/>
                                </a:rPr>
                              </m:ctrlPr>
                            </m:sSubSupPr>
                            <m:e>
                              <m:r>
                                <a:rPr lang="en-US" i="1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  <a:cs typeface="SB Sans Display Light" panose="020B0303040504020204" pitchFamily="34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en-US" i="1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  <a:cs typeface="SB Sans Display Light" panose="020B0303040504020204" pitchFamily="34" charset="0"/>
                                </a:rPr>
                                <m:t>𝑡</m:t>
                              </m:r>
                            </m:sub>
                            <m:sup>
                              <m:r>
                                <a:rPr lang="en-US" i="1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  <a:cs typeface="SB Sans Display Light" panose="020B0303040504020204" pitchFamily="34" charset="0"/>
                                </a:rPr>
                                <m:t>+</m:t>
                              </m:r>
                            </m:sup>
                          </m:sSubSup>
                          <m:r>
                            <a:rPr lang="en-US" i="1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  <m:t> </m:t>
                          </m:r>
                          <m:r>
                            <a:rPr lang="en-US" i="1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  <m:t>𝑑</m:t>
                          </m:r>
                          <m:sSub>
                            <m:sSubPr>
                              <m:ctrlPr>
                                <a:rPr lang="ru-RU" i="1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  <a:cs typeface="SB Sans Display Light" panose="020B0303040504020204" pitchFamily="34" charset="0"/>
                                </a:rPr>
                              </m:ctrlPr>
                            </m:sSubPr>
                            <m:e>
                              <m:r>
                                <a:rPr lang="en-US" i="1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  <a:cs typeface="SB Sans Display Light" panose="020B0303040504020204" pitchFamily="34" charset="0"/>
                                </a:rPr>
                                <m:t>𝑃𝐷</m:t>
                              </m:r>
                            </m:e>
                            <m:sub>
                              <m:r>
                                <a:rPr lang="en-US" i="1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  <a:cs typeface="SB Sans Display Light" panose="020B0303040504020204" pitchFamily="34" charset="0"/>
                                </a:rPr>
                                <m:t>𝑡</m:t>
                              </m:r>
                            </m:sub>
                          </m:sSub>
                        </m:e>
                      </m:nary>
                    </m:oMath>
                  </m:oMathPara>
                </a14:m>
                <a:endParaRPr lang="ru-RU" dirty="0"/>
              </a:p>
            </p:txBody>
          </p:sp>
        </mc:Choice>
        <mc:Fallback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B387A9DE-06B8-2C45-AB69-72822ACCC68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52807" y="1297159"/>
                <a:ext cx="4669706" cy="715260"/>
              </a:xfrm>
              <a:prstGeom prst="rect">
                <a:avLst/>
              </a:prstGeom>
              <a:blipFill>
                <a:blip r:embed="rId2"/>
                <a:stretch>
                  <a:fillRect t="-152632" b="-228070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5" name="TextBox 24">
            <a:extLst>
              <a:ext uri="{FF2B5EF4-FFF2-40B4-BE49-F238E27FC236}">
                <a16:creationId xmlns:a16="http://schemas.microsoft.com/office/drawing/2014/main" id="{567D3414-754A-D541-9C79-184AFB4BCF29}"/>
              </a:ext>
            </a:extLst>
          </p:cNvPr>
          <p:cNvSpPr txBox="1"/>
          <p:nvPr/>
        </p:nvSpPr>
        <p:spPr>
          <a:xfrm>
            <a:off x="536578" y="2302251"/>
            <a:ext cx="4533365" cy="10772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2"/>
                </a:solidFill>
              </a:rPr>
              <a:t>консервативная оценка для </a:t>
            </a:r>
            <a:r>
              <a:rPr lang="en-US" sz="1400" dirty="0">
                <a:solidFill>
                  <a:schemeClr val="tx2"/>
                </a:solidFill>
              </a:rPr>
              <a:t>CVA </a:t>
            </a:r>
            <a:r>
              <a:rPr lang="ru-RU" sz="1400" dirty="0">
                <a:solidFill>
                  <a:schemeClr val="tx2"/>
                </a:solidFill>
              </a:rPr>
              <a:t>форварда – это</a:t>
            </a:r>
          </a:p>
          <a:p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en-US" sz="1400" dirty="0">
                <a:solidFill>
                  <a:schemeClr val="tx2"/>
                </a:solidFill>
              </a:rPr>
              <a:t>–(1-RR)*PD</a:t>
            </a:r>
            <a:r>
              <a:rPr lang="ru-RU" sz="1400" dirty="0">
                <a:solidFill>
                  <a:schemeClr val="tx2"/>
                </a:solidFill>
              </a:rPr>
              <a:t>(0</a:t>
            </a:r>
            <a:r>
              <a:rPr lang="en-US" sz="1400" dirty="0">
                <a:solidFill>
                  <a:schemeClr val="tx2"/>
                </a:solidFill>
              </a:rPr>
              <a:t>,T)*PV(</a:t>
            </a:r>
            <a:r>
              <a:rPr lang="ru-RU" sz="1400" dirty="0">
                <a:solidFill>
                  <a:schemeClr val="tx2"/>
                </a:solidFill>
              </a:rPr>
              <a:t>европейского опциона с теми же </a:t>
            </a:r>
            <a:r>
              <a:rPr lang="en-US" sz="1400" dirty="0">
                <a:solidFill>
                  <a:schemeClr val="tx2"/>
                </a:solidFill>
              </a:rPr>
              <a:t>K </a:t>
            </a:r>
            <a:r>
              <a:rPr lang="ru-RU" sz="1400" dirty="0">
                <a:solidFill>
                  <a:schemeClr val="tx2"/>
                </a:solidFill>
              </a:rPr>
              <a:t>и </a:t>
            </a:r>
            <a:r>
              <a:rPr lang="en-US" sz="1400" dirty="0">
                <a:solidFill>
                  <a:schemeClr val="tx2"/>
                </a:solidFill>
              </a:rPr>
              <a:t>T</a:t>
            </a:r>
            <a:r>
              <a:rPr lang="ru-RU" sz="1400" dirty="0">
                <a:solidFill>
                  <a:schemeClr val="tx2"/>
                </a:solidFill>
              </a:rPr>
              <a:t>)</a:t>
            </a:r>
            <a:r>
              <a:rPr lang="en-US" sz="1400" dirty="0">
                <a:solidFill>
                  <a:schemeClr val="tx2"/>
                </a:solidFill>
              </a:rPr>
              <a:t>, </a:t>
            </a:r>
            <a:r>
              <a:rPr lang="ru-RU" sz="1400" dirty="0">
                <a:solidFill>
                  <a:schemeClr val="tx2"/>
                </a:solidFill>
              </a:rPr>
              <a:t>потому что мы вместо интеграла по </a:t>
            </a:r>
            <a:r>
              <a:rPr lang="en-US" sz="1400" dirty="0">
                <a:solidFill>
                  <a:schemeClr val="tx2"/>
                </a:solidFill>
              </a:rPr>
              <a:t>t </a:t>
            </a:r>
            <a:r>
              <a:rPr lang="ru-RU" sz="1400" dirty="0">
                <a:solidFill>
                  <a:schemeClr val="tx2"/>
                </a:solidFill>
              </a:rPr>
              <a:t>посчитали</a:t>
            </a:r>
            <a:r>
              <a:rPr lang="en-US" sz="1400" dirty="0">
                <a:solidFill>
                  <a:schemeClr val="tx2"/>
                </a:solidFill>
              </a:rPr>
              <a:t>, </a:t>
            </a:r>
            <a:r>
              <a:rPr lang="ru-RU" sz="1400" dirty="0">
                <a:solidFill>
                  <a:schemeClr val="tx2"/>
                </a:solidFill>
              </a:rPr>
              <a:t>что как будто контрагент  не </a:t>
            </a:r>
            <a:r>
              <a:rPr lang="ru-RU" sz="1400" dirty="0" err="1">
                <a:solidFill>
                  <a:schemeClr val="tx2"/>
                </a:solidFill>
              </a:rPr>
              <a:t>задефолтит</a:t>
            </a:r>
            <a:r>
              <a:rPr lang="ru-RU" sz="1400" dirty="0">
                <a:solidFill>
                  <a:schemeClr val="tx2"/>
                </a:solidFill>
              </a:rPr>
              <a:t> до конца</a:t>
            </a:r>
            <a:r>
              <a:rPr lang="en-US" sz="1400" dirty="0">
                <a:solidFill>
                  <a:schemeClr val="tx2"/>
                </a:solidFill>
              </a:rPr>
              <a:t>, </a:t>
            </a:r>
            <a:r>
              <a:rPr lang="ru-RU" sz="1400" dirty="0">
                <a:solidFill>
                  <a:schemeClr val="tx2"/>
                </a:solidFill>
              </a:rPr>
              <a:t>потому что максимальное </a:t>
            </a:r>
            <a:r>
              <a:rPr lang="en-US" sz="1400" dirty="0">
                <a:solidFill>
                  <a:schemeClr val="tx2"/>
                </a:solidFill>
              </a:rPr>
              <a:t>Exposure </a:t>
            </a:r>
            <a:r>
              <a:rPr lang="ru-RU" sz="1400" dirty="0">
                <a:solidFill>
                  <a:schemeClr val="tx2"/>
                </a:solidFill>
              </a:rPr>
              <a:t>как раз в конце достигается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E229C0A1-9F6C-4848-ADFE-4D4B6C476B7A}"/>
              </a:ext>
            </a:extLst>
          </p:cNvPr>
          <p:cNvSpPr txBox="1"/>
          <p:nvPr/>
        </p:nvSpPr>
        <p:spPr>
          <a:xfrm>
            <a:off x="399625" y="4885514"/>
            <a:ext cx="4478550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2"/>
                </a:solidFill>
              </a:rPr>
              <a:t>А если нам нужно </a:t>
            </a:r>
            <a:r>
              <a:rPr lang="en-US" sz="1400" dirty="0">
                <a:solidFill>
                  <a:schemeClr val="tx2"/>
                </a:solidFill>
              </a:rPr>
              <a:t>CVA </a:t>
            </a:r>
            <a:r>
              <a:rPr lang="ru-RU" sz="1400" dirty="0">
                <a:solidFill>
                  <a:schemeClr val="tx2"/>
                </a:solidFill>
              </a:rPr>
              <a:t>для форварда с </a:t>
            </a:r>
            <a:r>
              <a:rPr lang="en-US" sz="1400" dirty="0">
                <a:solidFill>
                  <a:schemeClr val="tx2"/>
                </a:solidFill>
              </a:rPr>
              <a:t>CSA – </a:t>
            </a:r>
            <a:r>
              <a:rPr lang="ru-RU" sz="1400" dirty="0">
                <a:solidFill>
                  <a:schemeClr val="tx2"/>
                </a:solidFill>
              </a:rPr>
              <a:t>то это будет соответствовать </a:t>
            </a:r>
            <a:r>
              <a:rPr lang="en-US" sz="1400" dirty="0">
                <a:solidFill>
                  <a:schemeClr val="tx2"/>
                </a:solidFill>
              </a:rPr>
              <a:t>–(1-RR)*PD</a:t>
            </a:r>
            <a:r>
              <a:rPr lang="ru-RU" sz="1400" dirty="0">
                <a:solidFill>
                  <a:schemeClr val="tx2"/>
                </a:solidFill>
              </a:rPr>
              <a:t>(0</a:t>
            </a:r>
            <a:r>
              <a:rPr lang="en-US" sz="1400" dirty="0">
                <a:solidFill>
                  <a:schemeClr val="tx2"/>
                </a:solidFill>
              </a:rPr>
              <a:t>,T)*PV(</a:t>
            </a:r>
            <a:r>
              <a:rPr lang="ru-RU" sz="1400" dirty="0">
                <a:solidFill>
                  <a:schemeClr val="tx2"/>
                </a:solidFill>
              </a:rPr>
              <a:t>барьерного опциона с тем же </a:t>
            </a:r>
            <a:r>
              <a:rPr lang="ru-RU" sz="1400" dirty="0" err="1">
                <a:solidFill>
                  <a:schemeClr val="tx2"/>
                </a:solidFill>
              </a:rPr>
              <a:t>страйком</a:t>
            </a:r>
            <a:r>
              <a:rPr lang="ru-RU" sz="1400" dirty="0">
                <a:solidFill>
                  <a:schemeClr val="tx2"/>
                </a:solidFill>
              </a:rPr>
              <a:t> и тем же временем до экспирации)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A5F91C43-46A6-DB42-8E1E-E0BA444B8ECE}"/>
              </a:ext>
            </a:extLst>
          </p:cNvPr>
          <p:cNvSpPr txBox="1"/>
          <p:nvPr/>
        </p:nvSpPr>
        <p:spPr>
          <a:xfrm>
            <a:off x="399625" y="4390842"/>
            <a:ext cx="4478550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2"/>
                </a:solidFill>
              </a:rPr>
              <a:t>Отметим</a:t>
            </a:r>
            <a:r>
              <a:rPr lang="en-US" sz="1400" dirty="0">
                <a:solidFill>
                  <a:schemeClr val="tx2"/>
                </a:solidFill>
              </a:rPr>
              <a:t>, </a:t>
            </a:r>
            <a:r>
              <a:rPr lang="ru-RU" sz="1400" dirty="0">
                <a:solidFill>
                  <a:schemeClr val="tx2"/>
                </a:solidFill>
              </a:rPr>
              <a:t>что линейный инструмент (форвард) с точки зрения </a:t>
            </a:r>
            <a:r>
              <a:rPr lang="en-US" sz="1400" dirty="0">
                <a:solidFill>
                  <a:schemeClr val="tx2"/>
                </a:solidFill>
              </a:rPr>
              <a:t>CVA </a:t>
            </a:r>
            <a:r>
              <a:rPr lang="ru-RU" sz="1400" dirty="0">
                <a:solidFill>
                  <a:schemeClr val="tx2"/>
                </a:solidFill>
              </a:rPr>
              <a:t>превратился в нелинейный (опцион)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2F238256-429E-074C-B4EE-3774CA087BFC}"/>
              </a:ext>
            </a:extLst>
          </p:cNvPr>
          <p:cNvSpPr txBox="1"/>
          <p:nvPr/>
        </p:nvSpPr>
        <p:spPr>
          <a:xfrm>
            <a:off x="399625" y="3637202"/>
            <a:ext cx="4211393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2"/>
                </a:solidFill>
              </a:rPr>
              <a:t>По своей природе </a:t>
            </a:r>
            <a:r>
              <a:rPr lang="en-US" sz="1400" dirty="0">
                <a:solidFill>
                  <a:schemeClr val="tx2"/>
                </a:solidFill>
              </a:rPr>
              <a:t>CVA </a:t>
            </a:r>
            <a:r>
              <a:rPr lang="ru-RU" sz="1400" dirty="0">
                <a:solidFill>
                  <a:schemeClr val="tx2"/>
                </a:solidFill>
              </a:rPr>
              <a:t>для форварда похож на американский опцион 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D690373F-23F5-C542-AE26-4BDFFE4C34CF}"/>
              </a:ext>
            </a:extLst>
          </p:cNvPr>
          <p:cNvSpPr txBox="1"/>
          <p:nvPr/>
        </p:nvSpPr>
        <p:spPr>
          <a:xfrm>
            <a:off x="399625" y="5942872"/>
            <a:ext cx="4765184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2"/>
                </a:solidFill>
              </a:rPr>
              <a:t>А по форме </a:t>
            </a:r>
            <a:r>
              <a:rPr lang="en-US" sz="1400" dirty="0">
                <a:solidFill>
                  <a:schemeClr val="tx2"/>
                </a:solidFill>
              </a:rPr>
              <a:t>CVA </a:t>
            </a:r>
            <a:r>
              <a:rPr lang="ru-RU" sz="1400" dirty="0">
                <a:solidFill>
                  <a:schemeClr val="tx2"/>
                </a:solidFill>
              </a:rPr>
              <a:t>для </a:t>
            </a:r>
            <a:r>
              <a:rPr lang="ru-RU" sz="1400" dirty="0" err="1">
                <a:solidFill>
                  <a:schemeClr val="tx2"/>
                </a:solidFill>
              </a:rPr>
              <a:t>форвардв</a:t>
            </a:r>
            <a:r>
              <a:rPr lang="ru-RU" sz="1400" dirty="0">
                <a:solidFill>
                  <a:schemeClr val="tx2"/>
                </a:solidFill>
              </a:rPr>
              <a:t> с </a:t>
            </a:r>
            <a:r>
              <a:rPr lang="en-US" sz="1400" dirty="0">
                <a:solidFill>
                  <a:schemeClr val="tx2"/>
                </a:solidFill>
              </a:rPr>
              <a:t>CSA </a:t>
            </a:r>
            <a:r>
              <a:rPr lang="ru-RU" sz="1400" dirty="0" err="1">
                <a:solidFill>
                  <a:schemeClr val="tx2"/>
                </a:solidFill>
              </a:rPr>
              <a:t>соотвествует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en-US" sz="1400" dirty="0">
                <a:solidFill>
                  <a:schemeClr val="tx2"/>
                </a:solidFill>
              </a:rPr>
              <a:t>PV </a:t>
            </a:r>
            <a:r>
              <a:rPr lang="ru-RU" sz="1400" dirty="0">
                <a:solidFill>
                  <a:schemeClr val="tx2"/>
                </a:solidFill>
              </a:rPr>
              <a:t>американского барьерного опциона</a:t>
            </a:r>
            <a:r>
              <a:rPr lang="en-US" sz="1400" dirty="0">
                <a:solidFill>
                  <a:schemeClr val="tx2"/>
                </a:solidFill>
              </a:rPr>
              <a:t>, </a:t>
            </a:r>
            <a:r>
              <a:rPr lang="ru-RU" sz="1400" dirty="0">
                <a:solidFill>
                  <a:schemeClr val="tx2"/>
                </a:solidFill>
              </a:rPr>
              <a:t>то есть самого сложного продукта! </a:t>
            </a:r>
          </a:p>
        </p:txBody>
      </p:sp>
      <p:pic>
        <p:nvPicPr>
          <p:cNvPr id="34" name="Рисунок 33">
            <a:extLst>
              <a:ext uri="{FF2B5EF4-FFF2-40B4-BE49-F238E27FC236}">
                <a16:creationId xmlns:a16="http://schemas.microsoft.com/office/drawing/2014/main" id="{113A5298-899A-3B42-A8D8-5D9D8EED06F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00241" y="2519349"/>
            <a:ext cx="6442805" cy="4300013"/>
          </a:xfrm>
          <a:prstGeom prst="rect">
            <a:avLst/>
          </a:prstGeom>
        </p:spPr>
      </p:pic>
      <p:pic>
        <p:nvPicPr>
          <p:cNvPr id="35" name="Рисунок 34">
            <a:extLst>
              <a:ext uri="{FF2B5EF4-FFF2-40B4-BE49-F238E27FC236}">
                <a16:creationId xmlns:a16="http://schemas.microsoft.com/office/drawing/2014/main" id="{FB20B569-6A4E-554A-BDCB-3C2D74CB6BF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404977" y="201901"/>
            <a:ext cx="2628286" cy="2561841"/>
          </a:xfrm>
          <a:prstGeom prst="rect">
            <a:avLst/>
          </a:prstGeom>
        </p:spPr>
      </p:pic>
      <p:pic>
        <p:nvPicPr>
          <p:cNvPr id="36" name="Рисунок 35">
            <a:extLst>
              <a:ext uri="{FF2B5EF4-FFF2-40B4-BE49-F238E27FC236}">
                <a16:creationId xmlns:a16="http://schemas.microsoft.com/office/drawing/2014/main" id="{112814C5-50E8-2B49-B81B-F7D6B2568A7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93584" y="1109861"/>
            <a:ext cx="4211393" cy="1730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288984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dhQsDnXSnsd6B6YjHQsg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</TotalTime>
  <Words>446</Words>
  <Application>Microsoft Macintosh PowerPoint</Application>
  <PresentationFormat>Широкоэкранный</PresentationFormat>
  <Paragraphs>38</Paragraphs>
  <Slides>3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3</vt:i4>
      </vt:variant>
    </vt:vector>
  </HeadingPairs>
  <TitlesOfParts>
    <vt:vector size="13" baseType="lpstr">
      <vt:lpstr>Arial</vt:lpstr>
      <vt:lpstr>Calibri</vt:lpstr>
      <vt:lpstr>Calibri Light</vt:lpstr>
      <vt:lpstr>Cambria Math</vt:lpstr>
      <vt:lpstr>SB Sans Display</vt:lpstr>
      <vt:lpstr>SB Sans Display Light</vt:lpstr>
      <vt:lpstr>SB Sans Display Semibold</vt:lpstr>
      <vt:lpstr>Times New Roman</vt:lpstr>
      <vt:lpstr>Тема Office</vt:lpstr>
      <vt:lpstr>think-cell Slide</vt:lpstr>
      <vt:lpstr>Regression Based Monte Carlo</vt:lpstr>
      <vt:lpstr>AMC для CVA</vt:lpstr>
      <vt:lpstr>Пример: CVA для форварда без CSA и c CSA (=Credit Support Annex)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egression Based Monte Carlo</dc:title>
  <dc:creator>Microsoft Office User</dc:creator>
  <cp:lastModifiedBy>Microsoft Office User</cp:lastModifiedBy>
  <cp:revision>6</cp:revision>
  <dcterms:created xsi:type="dcterms:W3CDTF">2022-11-14T11:22:38Z</dcterms:created>
  <dcterms:modified xsi:type="dcterms:W3CDTF">2022-11-14T11:26:50Z</dcterms:modified>
</cp:coreProperties>
</file>